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0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5"/>
    <p:sldMasterId id="2147483688" r:id="rId6"/>
    <p:sldMasterId id="2147483699" r:id="rId7"/>
    <p:sldMasterId id="2147483734" r:id="rId8"/>
    <p:sldMasterId id="2147483752" r:id="rId9"/>
    <p:sldMasterId id="2147483787" r:id="rId10"/>
    <p:sldMasterId id="2147483912" r:id="rId11"/>
    <p:sldMasterId id="2147483923" r:id="rId12"/>
    <p:sldMasterId id="2147483943" r:id="rId13"/>
    <p:sldMasterId id="2147483962" r:id="rId14"/>
  </p:sldMasterIdLst>
  <p:notesMasterIdLst>
    <p:notesMasterId r:id="rId19"/>
  </p:notesMasterIdLst>
  <p:sldIdLst>
    <p:sldId id="388" r:id="rId15"/>
    <p:sldId id="390" r:id="rId16"/>
    <p:sldId id="397" r:id="rId17"/>
    <p:sldId id="396" r:id="rId18"/>
  </p:sldIdLst>
  <p:sldSz cx="12161838" cy="6858000"/>
  <p:notesSz cx="6985000" cy="9283700"/>
  <p:defaultTextStyle>
    <a:defPPr>
      <a:defRPr lang="en-US"/>
    </a:defPPr>
    <a:lvl1pPr marL="0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12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026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047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058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079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096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098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125" algn="l" defTabSz="91202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83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leran, Joseph" initials="jo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E1EEF7"/>
    <a:srgbClr val="1F497D"/>
    <a:srgbClr val="7F7F7F"/>
    <a:srgbClr val="95B3D7"/>
    <a:srgbClr val="376092"/>
    <a:srgbClr val="77933C"/>
    <a:srgbClr val="006600"/>
    <a:srgbClr val="E46C0A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659062-0198-4E47-8C09-1B8F838CACDF}" v="14" dt="2021-03-18T21:02:39.9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00" autoAdjust="0"/>
    <p:restoredTop sz="95928"/>
  </p:normalViewPr>
  <p:slideViewPr>
    <p:cSldViewPr>
      <p:cViewPr varScale="1">
        <p:scale>
          <a:sx n="104" d="100"/>
          <a:sy n="104" d="100"/>
        </p:scale>
        <p:origin x="132" y="114"/>
      </p:cViewPr>
      <p:guideLst>
        <p:guide orient="horz" pos="2160"/>
        <p:guide pos="2880"/>
        <p:guide pos="38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805B84BB-0B07-4682-AA98-043089B0E7BF}" type="datetimeFigureOut">
              <a:rPr lang="en-US" smtClean="0"/>
              <a:t>10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7220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C365900C-A639-46E3-96A6-4AED69E532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741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6012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2026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68047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4058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0079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36096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2098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48125" algn="l" defTabSz="91202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20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65900C-A639-46E3-96A6-4AED69E532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20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30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5.xml"/><Relationship Id="rId4" Type="http://schemas.openxmlformats.org/officeDocument/2006/relationships/image" Target="../media/image10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oleObject" Target="../embeddings/oleObject8.bin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.x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.xml"/><Relationship Id="rId4" Type="http://schemas.openxmlformats.org/officeDocument/2006/relationships/image" Target="../media/image10.emf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88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37" y="6631459"/>
            <a:ext cx="4155295" cy="197128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D8D8D8">
                    <a:lumMod val="75000"/>
                  </a:srgbClr>
                </a:solidFill>
              </a:rPr>
              <a:t>Fidelity Internal Information</a:t>
            </a:r>
            <a:endParaRPr lang="en-US" dirty="0">
              <a:solidFill>
                <a:srgbClr val="D8D8D8">
                  <a:lumMod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0061173" y="6301104"/>
            <a:ext cx="2100681" cy="556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0538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7324"/>
            <a:ext cx="12161838" cy="3167939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6334" y="4140523"/>
            <a:ext cx="12161838" cy="56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"/>
            <a:ext cx="4205613" cy="3679464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96949" y="3540617"/>
            <a:ext cx="11336269" cy="601351"/>
          </a:xfrm>
        </p:spPr>
        <p:txBody>
          <a:bodyPr/>
          <a:lstStyle>
            <a:lvl1pPr>
              <a:lnSpc>
                <a:spcPct val="100000"/>
              </a:lnSpc>
              <a:defRPr sz="3308" b="1" spc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-6334" y="3105389"/>
            <a:ext cx="12161838" cy="425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3105394"/>
            <a:ext cx="12161838" cy="69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6205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8810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1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4810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8056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5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5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027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499619"/>
            <a:ext cx="11336118" cy="4882516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1805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32377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504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0651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121" y="1496187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294810" y="1496187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1805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32377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504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103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1805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32377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504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2632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73358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93252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47961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601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1" y="1922949"/>
            <a:ext cx="10568523" cy="497348"/>
          </a:xfrm>
        </p:spPr>
        <p:txBody>
          <a:bodyPr/>
          <a:lstStyle>
            <a:lvl1pPr>
              <a:lnSpc>
                <a:spcPct val="100000"/>
              </a:lnSpc>
              <a:defRPr sz="2632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2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456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8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8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2205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5804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nsert confidentiality label he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4215" y="12"/>
            <a:ext cx="11353461" cy="989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/>
        </p:nvGraphicFramePr>
        <p:xfrm>
          <a:off x="2158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8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51699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20"/>
            <a:ext cx="11336118" cy="370069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6562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0078" y="6186061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0555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7" tIns="34275" rIns="68547" bIns="34275" rtlCol="0" anchor="ctr"/>
          <a:lstStyle/>
          <a:p>
            <a:pPr algn="ctr" defTabSz="685495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8"/>
            <a:ext cx="8935283" cy="555184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3008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4"/>
            <a:ext cx="8935283" cy="335316"/>
          </a:xfrm>
        </p:spPr>
        <p:txBody>
          <a:bodyPr>
            <a:spAutoFit/>
          </a:bodyPr>
          <a:lstStyle>
            <a:lvl1pPr marL="0" indent="0" algn="l">
              <a:buNone/>
              <a:defRPr lang="en-US" sz="1579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42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22"/>
            <a:ext cx="7009658" cy="312233"/>
          </a:xfrm>
        </p:spPr>
        <p:txBody>
          <a:bodyPr>
            <a:spAutoFit/>
          </a:bodyPr>
          <a:lstStyle>
            <a:lvl1pPr marL="0" indent="0">
              <a:buNone/>
              <a:defRPr sz="1429" b="1">
                <a:solidFill>
                  <a:schemeClr val="accent5"/>
                </a:solidFill>
              </a:defRPr>
            </a:lvl1pPr>
            <a:lvl2pPr marL="177326" indent="0">
              <a:buNone/>
              <a:defRPr b="1">
                <a:solidFill>
                  <a:schemeClr val="accent5"/>
                </a:solidFill>
              </a:defRPr>
            </a:lvl2pPr>
            <a:lvl3pPr marL="342748" indent="0">
              <a:buNone/>
              <a:defRPr b="1">
                <a:solidFill>
                  <a:schemeClr val="accent5"/>
                </a:solidFill>
              </a:defRPr>
            </a:lvl3pPr>
            <a:lvl4pPr marL="472468" indent="0">
              <a:buNone/>
              <a:defRPr b="1">
                <a:solidFill>
                  <a:schemeClr val="accent5"/>
                </a:solidFill>
              </a:defRPr>
            </a:lvl4pPr>
            <a:lvl5pPr marL="60219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22"/>
            <a:ext cx="7009658" cy="312233"/>
          </a:xfrm>
        </p:spPr>
        <p:txBody>
          <a:bodyPr>
            <a:spAutoFit/>
          </a:bodyPr>
          <a:lstStyle>
            <a:lvl1pPr marL="0" indent="0">
              <a:buNone/>
              <a:defRPr sz="1429" b="0" baseline="0">
                <a:solidFill>
                  <a:srgbClr val="404040"/>
                </a:solidFill>
              </a:defRPr>
            </a:lvl1pPr>
            <a:lvl2pPr marL="177326" indent="0">
              <a:buNone/>
              <a:defRPr b="1">
                <a:solidFill>
                  <a:schemeClr val="accent5"/>
                </a:solidFill>
              </a:defRPr>
            </a:lvl2pPr>
            <a:lvl3pPr marL="342748" indent="0">
              <a:buNone/>
              <a:defRPr b="1">
                <a:solidFill>
                  <a:schemeClr val="accent5"/>
                </a:solidFill>
              </a:defRPr>
            </a:lvl3pPr>
            <a:lvl4pPr marL="472468" indent="0">
              <a:buNone/>
              <a:defRPr b="1">
                <a:solidFill>
                  <a:schemeClr val="accent5"/>
                </a:solidFill>
              </a:defRPr>
            </a:lvl4pPr>
            <a:lvl5pPr marL="60219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6"/>
            <a:ext cx="6592493" cy="361829"/>
          </a:xfrm>
        </p:spPr>
        <p:txBody>
          <a:bodyPr anchor="t"/>
          <a:lstStyle>
            <a:lvl1pPr marL="0" indent="0" algn="r">
              <a:buNone/>
              <a:defRPr sz="1128" b="0">
                <a:solidFill>
                  <a:schemeClr val="accent5"/>
                </a:solidFill>
              </a:defRPr>
            </a:lvl1pPr>
            <a:lvl2pPr marL="177326" indent="0">
              <a:buNone/>
              <a:defRPr b="1">
                <a:solidFill>
                  <a:schemeClr val="accent5"/>
                </a:solidFill>
              </a:defRPr>
            </a:lvl2pPr>
            <a:lvl3pPr marL="342748" indent="0">
              <a:buNone/>
              <a:defRPr b="1">
                <a:solidFill>
                  <a:schemeClr val="accent5"/>
                </a:solidFill>
              </a:defRPr>
            </a:lvl3pPr>
            <a:lvl4pPr marL="472468" indent="0">
              <a:buNone/>
              <a:defRPr b="1">
                <a:solidFill>
                  <a:schemeClr val="accent5"/>
                </a:solidFill>
              </a:defRPr>
            </a:lvl4pPr>
            <a:lvl5pPr marL="602190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78019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7" tIns="34275" rIns="68547" bIns="34275" rtlCol="0" anchor="ctr"/>
          <a:lstStyle/>
          <a:p>
            <a:pPr algn="ctr" defTabSz="685495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370059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1805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33531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579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8818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370059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7" tIns="34275" rIns="68547" bIns="34275" rtlCol="0" anchor="ctr"/>
          <a:lstStyle/>
          <a:p>
            <a:pPr algn="ctr" defTabSz="685495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4966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370059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25"/>
            <a:ext cx="11336118" cy="5013325"/>
          </a:xfrm>
        </p:spPr>
        <p:txBody>
          <a:bodyPr vert="horz" lIns="91397" tIns="45699" rIns="91397" bIns="45699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7" tIns="34275" rIns="68547" bIns="34275" rtlCol="0" anchor="ctr"/>
          <a:lstStyle/>
          <a:p>
            <a:pPr algn="ctr" defTabSz="685495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28709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5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5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7" tIns="34275" rIns="68547" bIns="34275" rtlCol="0" anchor="ctr"/>
          <a:lstStyle/>
          <a:p>
            <a:pPr algn="ctr" defTabSz="685495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370059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1805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33531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579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34493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3"/>
            <a:ext cx="8935283" cy="1323407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7"/>
            <a:ext cx="8935283" cy="400077"/>
          </a:xfrm>
        </p:spPr>
        <p:txBody>
          <a:bodyPr>
            <a:spAutoFit/>
          </a:bodyPr>
          <a:lstStyle>
            <a:lvl1pPr marL="0" indent="0" algn="l">
              <a:buNone/>
              <a:defRPr lang="en-US" sz="20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17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1">
                <a:solidFill>
                  <a:schemeClr val="accent5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18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0" baseline="0">
                <a:solidFill>
                  <a:srgbClr val="404040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2"/>
            <a:ext cx="6592493" cy="361829"/>
          </a:xfrm>
        </p:spPr>
        <p:txBody>
          <a:bodyPr anchor="t"/>
          <a:lstStyle>
            <a:lvl1pPr marL="0" indent="0" algn="r">
              <a:buNone/>
              <a:defRPr sz="1600" b="0">
                <a:solidFill>
                  <a:schemeClr val="accent5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51956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7322"/>
            <a:ext cx="12161838" cy="3167939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6334" y="4140521"/>
            <a:ext cx="12161838" cy="56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"/>
            <a:ext cx="4205613" cy="3679464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96949" y="3540615"/>
            <a:ext cx="11336269" cy="769409"/>
          </a:xfrm>
        </p:spPr>
        <p:txBody>
          <a:bodyPr/>
          <a:lstStyle>
            <a:lvl1pPr>
              <a:lnSpc>
                <a:spcPct val="100000"/>
              </a:lnSpc>
              <a:defRPr sz="4400" b="1" spc="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-6334" y="3105387"/>
            <a:ext cx="12161838" cy="425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3105392"/>
            <a:ext cx="12161838" cy="69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4383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123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59" y="1589"/>
          <a:ext cx="211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9" y="1589"/>
                        <a:ext cx="211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110"/>
          <p:cNvSpPr txBox="1">
            <a:spLocks/>
          </p:cNvSpPr>
          <p:nvPr userDrawn="1"/>
        </p:nvSpPr>
        <p:spPr>
          <a:xfrm>
            <a:off x="9578085" y="6675993"/>
            <a:ext cx="2345556" cy="206103"/>
          </a:xfrm>
          <a:prstGeom prst="rect">
            <a:avLst/>
          </a:prstGeom>
        </p:spPr>
        <p:txBody>
          <a:bodyPr vert="horz" lIns="84594" tIns="42299" rIns="84594" bIns="42299" rtlCol="0" anchor="ctr">
            <a:noAutofit/>
          </a:bodyPr>
          <a:lstStyle>
            <a:defPPr>
              <a:defRPr lang="en-US"/>
            </a:defPPr>
            <a:lvl1pPr marL="0" algn="ctr" defTabSz="913586" rtl="0" eaLnBrk="1" latinLnBrk="0" hangingPunct="1">
              <a:defRPr sz="800" kern="12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6791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86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75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70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64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58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49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343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D8D8D8">
                    <a:lumMod val="75000"/>
                  </a:srgbClr>
                </a:solidFill>
              </a:rPr>
              <a:t>Fidelity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2238776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1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4810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32685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771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499619"/>
            <a:ext cx="11336118" cy="4882516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0427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121" y="1496185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294810" y="1496185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436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3375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73356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150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47959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59438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1" y="1922949"/>
            <a:ext cx="10568523" cy="630910"/>
          </a:xfrm>
        </p:spPr>
        <p:txBody>
          <a:bodyPr/>
          <a:lstStyle>
            <a:lvl1pPr>
              <a:lnSpc>
                <a:spcPct val="100000"/>
              </a:lnSpc>
              <a:defRPr sz="35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32177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7568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0078" y="6186059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36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659" y="-724"/>
            <a:ext cx="11416502" cy="7762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493" y="1179516"/>
            <a:ext cx="11488291" cy="51498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595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6"/>
            <a:ext cx="8935283" cy="1323407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4"/>
            <a:ext cx="8935283" cy="415466"/>
          </a:xfrm>
        </p:spPr>
        <p:txBody>
          <a:bodyPr>
            <a:spAutoFit/>
          </a:bodyPr>
          <a:lstStyle>
            <a:lvl1pPr marL="0" indent="0" algn="l">
              <a:buNone/>
              <a:defRPr lang="en-US" sz="21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0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6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21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1">
                <a:solidFill>
                  <a:schemeClr val="accent5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22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0" baseline="0">
                <a:solidFill>
                  <a:srgbClr val="404040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4"/>
            <a:ext cx="6592493" cy="361829"/>
          </a:xfrm>
        </p:spPr>
        <p:txBody>
          <a:bodyPr anchor="t"/>
          <a:lstStyle>
            <a:lvl1pPr marL="0" indent="0" algn="r">
              <a:buNone/>
              <a:defRPr sz="1500" b="0">
                <a:solidFill>
                  <a:schemeClr val="accent5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2687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41546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54875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1155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23"/>
            <a:ext cx="11336118" cy="5013325"/>
          </a:xfrm>
        </p:spPr>
        <p:txBody>
          <a:bodyPr vert="horz" lIns="91397" tIns="45699" rIns="91397" bIns="45699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6564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41546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7827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5"/>
            <a:ext cx="11336119" cy="1005728"/>
          </a:xfrm>
        </p:spPr>
        <p:txBody>
          <a:bodyPr lIns="0" anchor="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5" y="1426805"/>
            <a:ext cx="11336119" cy="4525963"/>
          </a:xfrm>
        </p:spPr>
        <p:txBody>
          <a:bodyPr lIns="0"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3" rIns="91194" bIns="45583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43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90919"/>
            <a:ext cx="12161838" cy="5767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34" y="6395174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61269" y="2032771"/>
            <a:ext cx="10337965" cy="384603"/>
          </a:xfrm>
        </p:spPr>
        <p:txBody>
          <a:bodyPr anchor="b"/>
          <a:lstStyle>
            <a:lvl1pPr marL="0" indent="0">
              <a:buNone/>
              <a:defRPr sz="1800" b="0">
                <a:solidFill>
                  <a:srgbClr val="8BA69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30156" indent="0">
              <a:buNone/>
              <a:defRPr sz="1600"/>
            </a:lvl2pPr>
            <a:lvl3pPr marL="860299" indent="0">
              <a:buNone/>
              <a:defRPr sz="1500"/>
            </a:lvl3pPr>
            <a:lvl4pPr marL="1290466" indent="0">
              <a:buNone/>
              <a:defRPr sz="1300"/>
            </a:lvl4pPr>
            <a:lvl5pPr marL="1720604" indent="0">
              <a:buNone/>
              <a:defRPr sz="1300"/>
            </a:lvl5pPr>
            <a:lvl6pPr marL="2150758" indent="0">
              <a:buNone/>
              <a:defRPr sz="1300"/>
            </a:lvl6pPr>
            <a:lvl7pPr marL="2580925" indent="0">
              <a:buNone/>
              <a:defRPr sz="1300"/>
            </a:lvl7pPr>
            <a:lvl8pPr marL="3011063" indent="0">
              <a:buNone/>
              <a:defRPr sz="1300"/>
            </a:lvl8pPr>
            <a:lvl9pPr marL="3441214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958872" y="1398243"/>
            <a:ext cx="10415685" cy="676992"/>
          </a:xfrm>
        </p:spPr>
        <p:txBody>
          <a:bodyPr/>
          <a:lstStyle>
            <a:lvl1pPr>
              <a:defRPr sz="3800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Insert confidentiality label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90" y="5733174"/>
            <a:ext cx="1701811" cy="276882"/>
          </a:xfrm>
        </p:spPr>
        <p:txBody>
          <a:bodyPr/>
          <a:lstStyle>
            <a:lvl1pPr algn="l">
              <a:defRPr sz="1300" baseline="0">
                <a:solidFill>
                  <a:srgbClr val="595959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9" name="Picture 14" descr="Fid_Logo_Grey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34" y="6395174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2794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348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4069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defRPr/>
            </a:lvl1pPr>
          </a:lstStyle>
          <a:p>
            <a:r>
              <a:rPr lang="en-US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1790533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9121378" y="6565956"/>
            <a:ext cx="2432368" cy="219075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ts val="599"/>
              </a:spcAft>
            </a:pPr>
            <a:fld id="{F8491CF6-610A-4F32-BDB1-CD359CF616C7}" type="slidenum">
              <a:rPr lang="en-US" sz="800">
                <a:solidFill>
                  <a:srgbClr val="275E37"/>
                </a:solidFill>
              </a:rPr>
              <a:pPr algn="r" eaLnBrk="1" hangingPunct="1">
                <a:spcAft>
                  <a:spcPts val="599"/>
                </a:spcAft>
              </a:pPr>
              <a:t>‹#›</a:t>
            </a:fld>
            <a:endParaRPr lang="en-US" sz="800">
              <a:solidFill>
                <a:srgbClr val="275E37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90522" y="2057400"/>
            <a:ext cx="10580799" cy="3886200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 sz="2300"/>
            </a:lvl1pPr>
            <a:lvl2pPr marL="455988" indent="0">
              <a:buNone/>
              <a:defRPr sz="2800"/>
            </a:lvl2pPr>
            <a:lvl3pPr marL="911971" indent="0">
              <a:buNone/>
              <a:defRPr sz="2300"/>
            </a:lvl3pPr>
            <a:lvl4pPr marL="1367968" indent="0">
              <a:buNone/>
              <a:defRPr sz="2000"/>
            </a:lvl4pPr>
            <a:lvl5pPr marL="1823948" indent="0">
              <a:buNone/>
              <a:defRPr sz="2000"/>
            </a:lvl5pPr>
            <a:lvl6pPr marL="2279938" indent="0">
              <a:buNone/>
              <a:defRPr sz="2000"/>
            </a:lvl6pPr>
            <a:lvl7pPr marL="2735931" indent="0">
              <a:buNone/>
              <a:defRPr sz="2000"/>
            </a:lvl7pPr>
            <a:lvl8pPr marL="3191903" indent="0">
              <a:buNone/>
              <a:defRPr sz="2000"/>
            </a:lvl8pPr>
            <a:lvl9pPr marL="3647907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0522" y="6035568"/>
            <a:ext cx="10580799" cy="292121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5988" indent="0">
              <a:buNone/>
              <a:defRPr sz="1300"/>
            </a:lvl2pPr>
            <a:lvl3pPr marL="911971" indent="0">
              <a:buNone/>
              <a:defRPr sz="1000"/>
            </a:lvl3pPr>
            <a:lvl4pPr marL="1367968" indent="0">
              <a:buNone/>
              <a:defRPr sz="900"/>
            </a:lvl4pPr>
            <a:lvl5pPr marL="1823948" indent="0">
              <a:buNone/>
              <a:defRPr sz="900"/>
            </a:lvl5pPr>
            <a:lvl6pPr marL="2279938" indent="0">
              <a:buNone/>
              <a:defRPr sz="900"/>
            </a:lvl6pPr>
            <a:lvl7pPr marL="2735931" indent="0">
              <a:buNone/>
              <a:defRPr sz="900"/>
            </a:lvl7pPr>
            <a:lvl8pPr marL="3191903" indent="0">
              <a:buNone/>
              <a:defRPr sz="900"/>
            </a:lvl8pPr>
            <a:lvl9pPr marL="364790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90522" y="1280182"/>
            <a:ext cx="10580799" cy="2312161"/>
          </a:xfrm>
        </p:spPr>
        <p:txBody>
          <a:bodyPr>
            <a:spAutoFit/>
          </a:bodyPr>
          <a:lstStyle>
            <a:lvl1pPr marL="273593" indent="-273593">
              <a:spcAft>
                <a:spcPts val="500"/>
              </a:spcAft>
              <a:buClr>
                <a:schemeClr val="accent1"/>
              </a:buClr>
              <a:buFont typeface="Arial Black" pitchFamily="34" charset="0"/>
              <a:buChar char="›"/>
              <a:defRPr sz="2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20780" indent="-182394"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defRPr sz="2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68915" y="6556411"/>
            <a:ext cx="1925624" cy="301625"/>
          </a:xfrm>
          <a:prstGeom prst="rect">
            <a:avLst/>
          </a:prstGeom>
        </p:spPr>
        <p:txBody>
          <a:bodyPr lIns="91201" tIns="45588" rIns="91201" bIns="45588"/>
          <a:lstStyle>
            <a:lvl1pPr>
              <a:defRPr/>
            </a:lvl1pPr>
          </a:lstStyle>
          <a:p>
            <a:pPr>
              <a:defRPr/>
            </a:pPr>
            <a:fld id="{9D1DCEBE-FBA3-4B94-8F29-DE46ED999B0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6743" y="6565960"/>
            <a:ext cx="3851249" cy="2476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660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400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33" y="6631459"/>
            <a:ext cx="4155295" cy="197128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D8D8D8">
                    <a:lumMod val="75000"/>
                  </a:srgbClr>
                </a:solidFill>
              </a:rPr>
              <a:t>Fidelity Internal Information</a:t>
            </a:r>
            <a:endParaRPr lang="en-US" dirty="0">
              <a:solidFill>
                <a:srgbClr val="D8D8D8">
                  <a:lumMod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0061166" y="6301099"/>
            <a:ext cx="2100681" cy="556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5718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40" y="6631459"/>
            <a:ext cx="4155295" cy="197128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D8D8D8">
                    <a:lumMod val="75000"/>
                  </a:srgbClr>
                </a:solidFill>
              </a:rPr>
              <a:t>Fidelity Internal Information</a:t>
            </a:r>
            <a:endParaRPr lang="en-US" dirty="0">
              <a:solidFill>
                <a:srgbClr val="D8D8D8">
                  <a:lumMod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0061173" y="6301107"/>
            <a:ext cx="2100681" cy="556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684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7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2205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5804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nsert confidentiality label he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4211" y="12"/>
            <a:ext cx="11353461" cy="989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/>
        </p:nvGraphicFramePr>
        <p:xfrm>
          <a:off x="2157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7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4720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58" y="1589"/>
          <a:ext cx="211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58" y="1589"/>
                        <a:ext cx="211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110"/>
          <p:cNvSpPr txBox="1">
            <a:spLocks/>
          </p:cNvSpPr>
          <p:nvPr userDrawn="1"/>
        </p:nvSpPr>
        <p:spPr>
          <a:xfrm>
            <a:off x="9578085" y="6675993"/>
            <a:ext cx="2345556" cy="206103"/>
          </a:xfrm>
          <a:prstGeom prst="rect">
            <a:avLst/>
          </a:prstGeom>
        </p:spPr>
        <p:txBody>
          <a:bodyPr vert="horz" lIns="84594" tIns="42299" rIns="84594" bIns="42299" rtlCol="0" anchor="ctr">
            <a:noAutofit/>
          </a:bodyPr>
          <a:lstStyle>
            <a:defPPr>
              <a:defRPr lang="en-US"/>
            </a:defPPr>
            <a:lvl1pPr marL="0" algn="ctr" defTabSz="913586" rtl="0" eaLnBrk="1" latinLnBrk="0" hangingPunct="1">
              <a:defRPr sz="800" kern="12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6791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86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75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70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64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58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49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343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D8D8D8">
                    <a:lumMod val="75000"/>
                  </a:srgbClr>
                </a:solidFill>
              </a:rPr>
              <a:t>Fidelity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281128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654" y="-724"/>
            <a:ext cx="11416502" cy="7762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493" y="1179516"/>
            <a:ext cx="11488291" cy="51498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273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5"/>
            <a:ext cx="11336119" cy="1005728"/>
          </a:xfrm>
        </p:spPr>
        <p:txBody>
          <a:bodyPr lIns="0" anchor="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5" y="1426805"/>
            <a:ext cx="11336119" cy="4525963"/>
          </a:xfrm>
        </p:spPr>
        <p:txBody>
          <a:bodyPr lIns="0"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3" rIns="91194" bIns="45583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08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90919"/>
            <a:ext cx="12161838" cy="5767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34" y="6395174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61269" y="2032771"/>
            <a:ext cx="10337965" cy="384603"/>
          </a:xfrm>
        </p:spPr>
        <p:txBody>
          <a:bodyPr anchor="b"/>
          <a:lstStyle>
            <a:lvl1pPr marL="0" indent="0">
              <a:buNone/>
              <a:defRPr sz="1800" b="0">
                <a:solidFill>
                  <a:srgbClr val="8BA69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30156" indent="0">
              <a:buNone/>
              <a:defRPr sz="1600"/>
            </a:lvl2pPr>
            <a:lvl3pPr marL="860299" indent="0">
              <a:buNone/>
              <a:defRPr sz="1500"/>
            </a:lvl3pPr>
            <a:lvl4pPr marL="1290466" indent="0">
              <a:buNone/>
              <a:defRPr sz="1300"/>
            </a:lvl4pPr>
            <a:lvl5pPr marL="1720604" indent="0">
              <a:buNone/>
              <a:defRPr sz="1300"/>
            </a:lvl5pPr>
            <a:lvl6pPr marL="2150758" indent="0">
              <a:buNone/>
              <a:defRPr sz="1300"/>
            </a:lvl6pPr>
            <a:lvl7pPr marL="2580925" indent="0">
              <a:buNone/>
              <a:defRPr sz="1300"/>
            </a:lvl7pPr>
            <a:lvl8pPr marL="3011063" indent="0">
              <a:buNone/>
              <a:defRPr sz="1300"/>
            </a:lvl8pPr>
            <a:lvl9pPr marL="3441214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958868" y="1398243"/>
            <a:ext cx="10415685" cy="676992"/>
          </a:xfrm>
        </p:spPr>
        <p:txBody>
          <a:bodyPr/>
          <a:lstStyle>
            <a:lvl1pPr>
              <a:defRPr sz="3800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Insert confidentiality label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90" y="5733174"/>
            <a:ext cx="1701811" cy="276882"/>
          </a:xfrm>
        </p:spPr>
        <p:txBody>
          <a:bodyPr/>
          <a:lstStyle>
            <a:lvl1pPr algn="l">
              <a:defRPr sz="1300" baseline="0">
                <a:solidFill>
                  <a:srgbClr val="595959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9" name="Picture 14" descr="Fid_Logo_Grey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34" y="6395174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483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344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4069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defRPr/>
            </a:lvl1pPr>
          </a:lstStyle>
          <a:p>
            <a:r>
              <a:rPr lang="en-US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614697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9121378" y="6565953"/>
            <a:ext cx="2432368" cy="219075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ts val="599"/>
              </a:spcAft>
            </a:pPr>
            <a:fld id="{F8491CF6-610A-4F32-BDB1-CD359CF616C7}" type="slidenum">
              <a:rPr lang="en-US" sz="800">
                <a:solidFill>
                  <a:srgbClr val="275E37"/>
                </a:solidFill>
              </a:rPr>
              <a:pPr algn="r" eaLnBrk="1" hangingPunct="1">
                <a:spcAft>
                  <a:spcPts val="599"/>
                </a:spcAft>
              </a:pPr>
              <a:t>‹#›</a:t>
            </a:fld>
            <a:endParaRPr lang="en-US" sz="800">
              <a:solidFill>
                <a:srgbClr val="275E37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90522" y="2057400"/>
            <a:ext cx="10580799" cy="3886200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 sz="2300"/>
            </a:lvl1pPr>
            <a:lvl2pPr marL="455988" indent="0">
              <a:buNone/>
              <a:defRPr sz="2800"/>
            </a:lvl2pPr>
            <a:lvl3pPr marL="911971" indent="0">
              <a:buNone/>
              <a:defRPr sz="2300"/>
            </a:lvl3pPr>
            <a:lvl4pPr marL="1367968" indent="0">
              <a:buNone/>
              <a:defRPr sz="2000"/>
            </a:lvl4pPr>
            <a:lvl5pPr marL="1823948" indent="0">
              <a:buNone/>
              <a:defRPr sz="2000"/>
            </a:lvl5pPr>
            <a:lvl6pPr marL="2279938" indent="0">
              <a:buNone/>
              <a:defRPr sz="2000"/>
            </a:lvl6pPr>
            <a:lvl7pPr marL="2735931" indent="0">
              <a:buNone/>
              <a:defRPr sz="2000"/>
            </a:lvl7pPr>
            <a:lvl8pPr marL="3191903" indent="0">
              <a:buNone/>
              <a:defRPr sz="2000"/>
            </a:lvl8pPr>
            <a:lvl9pPr marL="3647907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0522" y="6035565"/>
            <a:ext cx="10580799" cy="292121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5988" indent="0">
              <a:buNone/>
              <a:defRPr sz="1300"/>
            </a:lvl2pPr>
            <a:lvl3pPr marL="911971" indent="0">
              <a:buNone/>
              <a:defRPr sz="1000"/>
            </a:lvl3pPr>
            <a:lvl4pPr marL="1367968" indent="0">
              <a:buNone/>
              <a:defRPr sz="900"/>
            </a:lvl4pPr>
            <a:lvl5pPr marL="1823948" indent="0">
              <a:buNone/>
              <a:defRPr sz="900"/>
            </a:lvl5pPr>
            <a:lvl6pPr marL="2279938" indent="0">
              <a:buNone/>
              <a:defRPr sz="900"/>
            </a:lvl6pPr>
            <a:lvl7pPr marL="2735931" indent="0">
              <a:buNone/>
              <a:defRPr sz="900"/>
            </a:lvl7pPr>
            <a:lvl8pPr marL="3191903" indent="0">
              <a:buNone/>
              <a:defRPr sz="900"/>
            </a:lvl8pPr>
            <a:lvl9pPr marL="364790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90522" y="1280182"/>
            <a:ext cx="10580799" cy="2312161"/>
          </a:xfrm>
        </p:spPr>
        <p:txBody>
          <a:bodyPr>
            <a:spAutoFit/>
          </a:bodyPr>
          <a:lstStyle>
            <a:lvl1pPr marL="273593" indent="-273593">
              <a:spcAft>
                <a:spcPts val="500"/>
              </a:spcAft>
              <a:buClr>
                <a:schemeClr val="accent1"/>
              </a:buClr>
              <a:buFont typeface="Arial Black" pitchFamily="34" charset="0"/>
              <a:buChar char="›"/>
              <a:defRPr sz="2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20780" indent="-182394"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defRPr sz="2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68915" y="6556404"/>
            <a:ext cx="1925624" cy="301625"/>
          </a:xfrm>
          <a:prstGeom prst="rect">
            <a:avLst/>
          </a:prstGeom>
        </p:spPr>
        <p:txBody>
          <a:bodyPr lIns="91201" tIns="45588" rIns="91201" bIns="45588"/>
          <a:lstStyle>
            <a:lvl1pPr>
              <a:defRPr/>
            </a:lvl1pPr>
          </a:lstStyle>
          <a:p>
            <a:pPr>
              <a:defRPr/>
            </a:pPr>
            <a:fld id="{9D1DCEBE-FBA3-4B94-8F29-DE46ED999B0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6743" y="6565955"/>
            <a:ext cx="3851249" cy="2476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0697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88" y="1680386"/>
            <a:ext cx="8935281" cy="1323173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88" y="1181123"/>
            <a:ext cx="8935281" cy="399843"/>
          </a:xfrm>
        </p:spPr>
        <p:txBody>
          <a:bodyPr>
            <a:spAutoFit/>
          </a:bodyPr>
          <a:lstStyle>
            <a:lvl1pPr marL="0" indent="0" algn="l">
              <a:buNone/>
              <a:defRPr lang="en-US" sz="20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6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60" y="3239025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235924" indent="0">
              <a:buNone/>
              <a:defRPr b="1">
                <a:solidFill>
                  <a:schemeClr val="accent5"/>
                </a:solidFill>
              </a:defRPr>
            </a:lvl2pPr>
            <a:lvl3pPr marL="456012" indent="0">
              <a:buNone/>
              <a:defRPr b="1">
                <a:solidFill>
                  <a:schemeClr val="accent5"/>
                </a:solidFill>
              </a:defRPr>
            </a:lvl3pPr>
            <a:lvl4pPr marL="628603" indent="0">
              <a:buNone/>
              <a:defRPr b="1">
                <a:solidFill>
                  <a:schemeClr val="accent5"/>
                </a:solidFill>
              </a:defRPr>
            </a:lvl4pPr>
            <a:lvl5pPr marL="80119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60" y="3604725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rgbClr val="404040"/>
                </a:solidFill>
              </a:defRPr>
            </a:lvl1pPr>
            <a:lvl2pPr marL="235924" indent="0">
              <a:buNone/>
              <a:defRPr b="1">
                <a:solidFill>
                  <a:schemeClr val="accent5"/>
                </a:solidFill>
              </a:defRPr>
            </a:lvl2pPr>
            <a:lvl3pPr marL="456012" indent="0">
              <a:buNone/>
              <a:defRPr b="1">
                <a:solidFill>
                  <a:schemeClr val="accent5"/>
                </a:solidFill>
              </a:defRPr>
            </a:lvl3pPr>
            <a:lvl4pPr marL="628603" indent="0">
              <a:buNone/>
              <a:defRPr b="1">
                <a:solidFill>
                  <a:schemeClr val="accent5"/>
                </a:solidFill>
              </a:defRPr>
            </a:lvl4pPr>
            <a:lvl5pPr marL="80119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62" y="160045"/>
            <a:ext cx="6592493" cy="361829"/>
          </a:xfrm>
        </p:spPr>
        <p:txBody>
          <a:bodyPr anchor="t"/>
          <a:lstStyle>
            <a:lvl1pPr marL="0" indent="0" algn="r">
              <a:buNone/>
              <a:defRPr sz="1600" b="0">
                <a:solidFill>
                  <a:schemeClr val="accent5"/>
                </a:solidFill>
              </a:defRPr>
            </a:lvl1pPr>
            <a:lvl2pPr marL="235924" indent="0">
              <a:buNone/>
              <a:defRPr b="1">
                <a:solidFill>
                  <a:schemeClr val="accent5"/>
                </a:solidFill>
              </a:defRPr>
            </a:lvl2pPr>
            <a:lvl3pPr marL="456012" indent="0">
              <a:buNone/>
              <a:defRPr b="1">
                <a:solidFill>
                  <a:schemeClr val="accent5"/>
                </a:solidFill>
              </a:defRPr>
            </a:lvl3pPr>
            <a:lvl4pPr marL="628603" indent="0">
              <a:buNone/>
              <a:defRPr b="1">
                <a:solidFill>
                  <a:schemeClr val="accent5"/>
                </a:solidFill>
              </a:defRPr>
            </a:lvl4pPr>
            <a:lvl5pPr marL="80119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4067476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8438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7318"/>
            <a:ext cx="12161838" cy="316793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6334" y="4140548"/>
            <a:ext cx="12161838" cy="56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4"/>
            <a:ext cx="4205613" cy="3679464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96952" y="3540633"/>
            <a:ext cx="11336268" cy="769175"/>
          </a:xfrm>
        </p:spPr>
        <p:txBody>
          <a:bodyPr/>
          <a:lstStyle>
            <a:lvl1pPr>
              <a:lnSpc>
                <a:spcPct val="100000"/>
              </a:lnSpc>
              <a:defRPr sz="4400" b="1" spc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-6334" y="3105412"/>
            <a:ext cx="12161838" cy="425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3105384"/>
            <a:ext cx="12161838" cy="698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195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141416"/>
            <a:ext cx="11336119" cy="5013325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403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2205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58047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230" indent="-341891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842" indent="-341891">
              <a:buClr>
                <a:srgbClr val="595959"/>
              </a:buClr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nsert confidentiality label he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4215" y="12"/>
            <a:ext cx="11353461" cy="989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/>
        </p:nvGraphicFramePr>
        <p:xfrm>
          <a:off x="2161" y="1610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10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auto">
          <a:xfrm>
            <a:off x="-2" y="3863781"/>
            <a:ext cx="12161842" cy="36906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1" tIns="45588" rIns="91201" bIns="45588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29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6576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6" y="1141416"/>
            <a:ext cx="5434429" cy="5013325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4814" y="1141416"/>
            <a:ext cx="5434429" cy="5013325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9528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981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499618"/>
            <a:ext cx="11336119" cy="4882516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1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8137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126" y="1496185"/>
            <a:ext cx="5434429" cy="4332287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294814" y="1496185"/>
            <a:ext cx="5434429" cy="4332287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1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2977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1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8166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141416"/>
            <a:ext cx="11336119" cy="5013325"/>
          </a:xfrm>
        </p:spPr>
        <p:txBody>
          <a:bodyPr vert="horz" lIns="91201" tIns="45588" rIns="91201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82" y="6173362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2809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82" y="6147962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3291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9" y="1922971"/>
            <a:ext cx="10568523" cy="661453"/>
          </a:xfrm>
        </p:spPr>
        <p:txBody>
          <a:bodyPr/>
          <a:lstStyle>
            <a:lvl1pPr>
              <a:lnSpc>
                <a:spcPct val="100000"/>
              </a:lnSpc>
              <a:defRPr sz="37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2748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201" tIns="45588" rIns="91201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3977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0082" y="6186062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5"/>
            <a:ext cx="436090" cy="215444"/>
          </a:xfrm>
          <a:prstGeom prst="rect">
            <a:avLst/>
          </a:prstGeom>
        </p:spPr>
        <p:txBody>
          <a:bodyPr lIns="91201" tIns="45588" rIns="91201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806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589"/>
          <a:ext cx="211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589"/>
                        <a:ext cx="211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110"/>
          <p:cNvSpPr txBox="1">
            <a:spLocks/>
          </p:cNvSpPr>
          <p:nvPr userDrawn="1"/>
        </p:nvSpPr>
        <p:spPr>
          <a:xfrm>
            <a:off x="9578085" y="6675993"/>
            <a:ext cx="2345556" cy="206103"/>
          </a:xfrm>
          <a:prstGeom prst="rect">
            <a:avLst/>
          </a:prstGeom>
        </p:spPr>
        <p:txBody>
          <a:bodyPr vert="horz" lIns="84594" tIns="42299" rIns="84594" bIns="42299" rtlCol="0" anchor="ctr">
            <a:noAutofit/>
          </a:bodyPr>
          <a:lstStyle>
            <a:defPPr>
              <a:defRPr lang="en-US"/>
            </a:defPPr>
            <a:lvl1pPr marL="0" algn="ctr" defTabSz="913586" rtl="0" eaLnBrk="1" latinLnBrk="0" hangingPunct="1">
              <a:defRPr sz="800" kern="12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6791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86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75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70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64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58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49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343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D8D8D8">
                    <a:lumMod val="75000"/>
                  </a:srgbClr>
                </a:solidFill>
              </a:rPr>
              <a:t>Fidelity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164263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61838" cy="6858000"/>
          </a:xfrm>
          <a:prstGeom prst="rect">
            <a:avLst/>
          </a:prstGeom>
        </p:spPr>
        <p:txBody>
          <a:bodyPr tIns="0" bIns="3465727" anchor="ctr" anchorCtr="1"/>
          <a:lstStyle>
            <a:lvl1pPr algn="ctr">
              <a:buNone/>
              <a:defRPr sz="2400" b="0" i="0"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440110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32" y="6463484"/>
            <a:ext cx="4155295" cy="365125"/>
          </a:xfrm>
          <a:prstGeom prst="rect">
            <a:avLst/>
          </a:prstGeom>
        </p:spPr>
        <p:txBody>
          <a:bodyPr vert="horz" lIns="91117" tIns="45544" rIns="91117" bIns="45544" rtlCol="0" anchor="ctr">
            <a:noAutofit/>
          </a:bodyPr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D8D8D8">
                    <a:lumMod val="75000"/>
                  </a:srgbClr>
                </a:solidFill>
              </a:rPr>
              <a:t>Fidelity Confidential Information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-41943" y="6436223"/>
            <a:ext cx="1111340" cy="426871"/>
          </a:xfrm>
          <a:prstGeom prst="rect">
            <a:avLst/>
          </a:prstGeom>
        </p:spPr>
        <p:txBody>
          <a:bodyPr lIns="91117" tIns="45544" rIns="91117" bIns="45544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87123" y="1411017"/>
            <a:ext cx="10945654" cy="4525963"/>
          </a:xfrm>
        </p:spPr>
        <p:txBody>
          <a:bodyPr>
            <a:noAutofit/>
          </a:bodyPr>
          <a:lstStyle>
            <a:lvl1pPr>
              <a:defRPr sz="13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92298" y="274678"/>
            <a:ext cx="10945654" cy="820515"/>
          </a:xfrm>
          <a:prstGeom prst="rect">
            <a:avLst/>
          </a:prstGeom>
        </p:spPr>
        <p:txBody>
          <a:bodyPr vert="horz" lIns="91117" tIns="45544" rIns="91117" bIns="45544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-37236" y="6439761"/>
            <a:ext cx="1111340" cy="426871"/>
          </a:xfrm>
          <a:prstGeom prst="rect">
            <a:avLst/>
          </a:prstGeom>
        </p:spPr>
        <p:txBody>
          <a:bodyPr lIns="91117" tIns="45544" rIns="91117" bIns="45544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D8D8D8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D8D8D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924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61838" cy="4923692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554436" y="3541384"/>
            <a:ext cx="2856766" cy="285668"/>
          </a:xfrm>
        </p:spPr>
        <p:txBody>
          <a:bodyPr anchor="t"/>
          <a:lstStyle>
            <a:lvl1pPr marL="0" indent="0">
              <a:buNone/>
              <a:defRPr sz="1600" b="1" baseline="0">
                <a:solidFill>
                  <a:schemeClr val="accent5"/>
                </a:solidFill>
              </a:defRPr>
            </a:lvl1pPr>
            <a:lvl2pPr marL="235924" indent="0">
              <a:buNone/>
              <a:defRPr/>
            </a:lvl2pPr>
            <a:lvl3pPr marL="456012" indent="0">
              <a:buNone/>
              <a:defRPr/>
            </a:lvl3pPr>
            <a:lvl4pPr marL="628603" indent="0">
              <a:buNone/>
              <a:defRPr/>
            </a:lvl4pPr>
            <a:lvl5pPr marL="801197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436" y="2501122"/>
            <a:ext cx="6841666" cy="1076951"/>
          </a:xfrm>
        </p:spPr>
        <p:txBody>
          <a:bodyPr/>
          <a:lstStyle>
            <a:lvl1pPr>
              <a:defRPr sz="3200" b="1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54434" y="2060446"/>
            <a:ext cx="5185673" cy="41497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35924" indent="0" algn="l">
              <a:buNone/>
              <a:defRPr baseline="0"/>
            </a:lvl2pPr>
          </a:lstStyle>
          <a:p>
            <a:pPr lvl="0"/>
            <a:r>
              <a:rPr lang="en-US" dirty="0"/>
              <a:t>GROUP NAME HE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4307742"/>
            <a:ext cx="8445721" cy="1231900"/>
          </a:xfrm>
          <a:prstGeom prst="rect">
            <a:avLst/>
          </a:prstGeom>
        </p:spPr>
      </p:pic>
      <p:sp>
        <p:nvSpPr>
          <p:cNvPr id="2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54436" y="3822274"/>
            <a:ext cx="2856766" cy="285668"/>
          </a:xfrm>
        </p:spPr>
        <p:txBody>
          <a:bodyPr anchor="t"/>
          <a:lstStyle>
            <a:lvl1pPr marL="0" indent="0">
              <a:buNone/>
              <a:defRPr sz="1600" b="0" baseline="0">
                <a:solidFill>
                  <a:srgbClr val="404040"/>
                </a:solidFill>
              </a:defRPr>
            </a:lvl1pPr>
            <a:lvl2pPr marL="235924" indent="0">
              <a:buNone/>
              <a:defRPr/>
            </a:lvl2pPr>
            <a:lvl3pPr marL="456012" indent="0">
              <a:buNone/>
              <a:defRPr/>
            </a:lvl3pPr>
            <a:lvl4pPr marL="628603" indent="0">
              <a:buNone/>
              <a:defRPr/>
            </a:lvl4pPr>
            <a:lvl5pPr marL="801197" indent="0">
              <a:buNone/>
              <a:defRPr/>
            </a:lvl5pPr>
          </a:lstStyle>
          <a:p>
            <a:pPr lvl="0"/>
            <a:r>
              <a:rPr lang="en-US"/>
              <a:t>Pres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4399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lIns="0" anchor="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952186"/>
            <a:ext cx="11336119" cy="5433501"/>
          </a:xfrm>
        </p:spPr>
        <p:txBody>
          <a:bodyPr lIns="0"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88" rIns="91201" bIns="45588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0013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9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88" y="1680387"/>
            <a:ext cx="8935281" cy="1323173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88" y="1181131"/>
            <a:ext cx="8935281" cy="399843"/>
          </a:xfrm>
        </p:spPr>
        <p:txBody>
          <a:bodyPr>
            <a:spAutoFit/>
          </a:bodyPr>
          <a:lstStyle>
            <a:lvl1pPr marL="0" indent="0" algn="l">
              <a:buNone/>
              <a:defRPr lang="en-US" sz="20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60" y="3239032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235907" indent="0">
              <a:buNone/>
              <a:defRPr b="1">
                <a:solidFill>
                  <a:schemeClr val="accent5"/>
                </a:solidFill>
              </a:defRPr>
            </a:lvl2pPr>
            <a:lvl3pPr marL="455980" indent="0">
              <a:buNone/>
              <a:defRPr b="1">
                <a:solidFill>
                  <a:schemeClr val="accent5"/>
                </a:solidFill>
              </a:defRPr>
            </a:lvl3pPr>
            <a:lvl4pPr marL="628558" indent="0">
              <a:buNone/>
              <a:defRPr b="1">
                <a:solidFill>
                  <a:schemeClr val="accent5"/>
                </a:solidFill>
              </a:defRPr>
            </a:lvl4pPr>
            <a:lvl5pPr marL="801139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60" y="3604731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rgbClr val="404040"/>
                </a:solidFill>
              </a:defRPr>
            </a:lvl1pPr>
            <a:lvl2pPr marL="235907" indent="0">
              <a:buNone/>
              <a:defRPr b="1">
                <a:solidFill>
                  <a:schemeClr val="accent5"/>
                </a:solidFill>
              </a:defRPr>
            </a:lvl2pPr>
            <a:lvl3pPr marL="455980" indent="0">
              <a:buNone/>
              <a:defRPr b="1">
                <a:solidFill>
                  <a:schemeClr val="accent5"/>
                </a:solidFill>
              </a:defRPr>
            </a:lvl3pPr>
            <a:lvl4pPr marL="628558" indent="0">
              <a:buNone/>
              <a:defRPr b="1">
                <a:solidFill>
                  <a:schemeClr val="accent5"/>
                </a:solidFill>
              </a:defRPr>
            </a:lvl4pPr>
            <a:lvl5pPr marL="801139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61" y="160046"/>
            <a:ext cx="6592493" cy="361829"/>
          </a:xfrm>
        </p:spPr>
        <p:txBody>
          <a:bodyPr anchor="t"/>
          <a:lstStyle>
            <a:lvl1pPr marL="0" indent="0" algn="r">
              <a:buNone/>
              <a:defRPr sz="1600" b="0">
                <a:solidFill>
                  <a:schemeClr val="accent5"/>
                </a:solidFill>
              </a:defRPr>
            </a:lvl1pPr>
            <a:lvl2pPr marL="235907" indent="0">
              <a:buNone/>
              <a:defRPr b="1">
                <a:solidFill>
                  <a:schemeClr val="accent5"/>
                </a:solidFill>
              </a:defRPr>
            </a:lvl2pPr>
            <a:lvl3pPr marL="455980" indent="0">
              <a:buNone/>
              <a:defRPr b="1">
                <a:solidFill>
                  <a:schemeClr val="accent5"/>
                </a:solidFill>
              </a:defRPr>
            </a:lvl3pPr>
            <a:lvl4pPr marL="628558" indent="0">
              <a:buNone/>
              <a:defRPr b="1">
                <a:solidFill>
                  <a:schemeClr val="accent5"/>
                </a:solidFill>
              </a:defRPr>
            </a:lvl4pPr>
            <a:lvl5pPr marL="801139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2624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7348"/>
            <a:ext cx="12161838" cy="3167939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6334" y="4140554"/>
            <a:ext cx="12161838" cy="56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4"/>
            <a:ext cx="4205613" cy="3679464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96952" y="3540633"/>
            <a:ext cx="11336268" cy="769175"/>
          </a:xfrm>
        </p:spPr>
        <p:txBody>
          <a:bodyPr/>
          <a:lstStyle>
            <a:lvl1pPr>
              <a:lnSpc>
                <a:spcPct val="100000"/>
              </a:lnSpc>
              <a:defRPr sz="4400" b="1" spc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-6334" y="3105412"/>
            <a:ext cx="12161838" cy="425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3105425"/>
            <a:ext cx="12161838" cy="69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1378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141424"/>
            <a:ext cx="11336119" cy="5013325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6867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5" y="1141424"/>
            <a:ext cx="5434429" cy="5013325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4815" y="1141424"/>
            <a:ext cx="5434429" cy="5013325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8005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337571"/>
              </p:ext>
            </p:extLst>
          </p:nvPr>
        </p:nvGraphicFramePr>
        <p:xfrm>
          <a:off x="1592" y="1610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610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729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499619"/>
            <a:ext cx="11336119" cy="4882516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45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8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199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660" y="-724"/>
            <a:ext cx="11416502" cy="7762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493" y="1179516"/>
            <a:ext cx="11488291" cy="51498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86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125" y="1496185"/>
            <a:ext cx="5434429" cy="4332287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294815" y="1496185"/>
            <a:ext cx="5434429" cy="4332287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3154" y="336245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8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4047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45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8"/>
            <a:ext cx="11336268" cy="399843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0826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141424"/>
            <a:ext cx="11336119" cy="5013325"/>
          </a:xfrm>
        </p:spPr>
        <p:txBody>
          <a:bodyPr vert="horz" lIns="91194" tIns="45588" rIns="91194" bIns="4558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82" y="6173365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8725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82" y="6147967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604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6" y="1922956"/>
            <a:ext cx="10568523" cy="661453"/>
          </a:xfrm>
        </p:spPr>
        <p:txBody>
          <a:bodyPr/>
          <a:lstStyle>
            <a:lvl1pPr>
              <a:lnSpc>
                <a:spcPct val="100000"/>
              </a:lnSpc>
              <a:defRPr sz="37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2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6438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98"/>
          </a:xfrm>
        </p:spPr>
        <p:txBody>
          <a:bodyPr vert="horz" lIns="91194" tIns="45588" rIns="91194" bIns="4558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5182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0082" y="6186067"/>
            <a:ext cx="2541762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8" rIns="91194" bIns="45588" rtlCol="0" anchor="ctr"/>
          <a:lstStyle/>
          <a:p>
            <a:pPr algn="ctr" defTabSz="911958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7"/>
            <a:ext cx="436090" cy="215444"/>
          </a:xfrm>
          <a:prstGeom prst="rect">
            <a:avLst/>
          </a:prstGeom>
        </p:spPr>
        <p:txBody>
          <a:bodyPr lIns="91194" tIns="45588" rIns="91194" bIns="4558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752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9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78" rIns="91183" bIns="45578" rtlCol="0" anchor="ctr"/>
          <a:lstStyle/>
          <a:p>
            <a:pPr algn="ctr" defTabSz="911847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88" y="1680387"/>
            <a:ext cx="8935281" cy="1323173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88" y="1181121"/>
            <a:ext cx="8935281" cy="415232"/>
          </a:xfrm>
        </p:spPr>
        <p:txBody>
          <a:bodyPr>
            <a:spAutoFit/>
          </a:bodyPr>
          <a:lstStyle>
            <a:lvl1pPr marL="0" indent="0" algn="l">
              <a:buNone/>
              <a:defRPr lang="en-US" sz="21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60" y="3239032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  <a:lvl2pPr marL="235880" indent="0">
              <a:buNone/>
              <a:defRPr b="1">
                <a:solidFill>
                  <a:schemeClr val="accent5"/>
                </a:solidFill>
              </a:defRPr>
            </a:lvl2pPr>
            <a:lvl3pPr marL="455925" indent="0">
              <a:buNone/>
              <a:defRPr b="1">
                <a:solidFill>
                  <a:schemeClr val="accent5"/>
                </a:solidFill>
              </a:defRPr>
            </a:lvl3pPr>
            <a:lvl4pPr marL="628482" indent="0">
              <a:buNone/>
              <a:defRPr b="1">
                <a:solidFill>
                  <a:schemeClr val="accent5"/>
                </a:solidFill>
              </a:defRPr>
            </a:lvl4pPr>
            <a:lvl5pPr marL="80104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60" y="3604738"/>
            <a:ext cx="7009658" cy="369065"/>
          </a:xfrm>
        </p:spPr>
        <p:txBody>
          <a:bodyPr>
            <a:spAutoFit/>
          </a:bodyPr>
          <a:lstStyle>
            <a:lvl1pPr marL="0" indent="0">
              <a:buNone/>
              <a:defRPr sz="1800" b="0" baseline="0">
                <a:solidFill>
                  <a:srgbClr val="404040"/>
                </a:solidFill>
              </a:defRPr>
            </a:lvl1pPr>
            <a:lvl2pPr marL="235880" indent="0">
              <a:buNone/>
              <a:defRPr b="1">
                <a:solidFill>
                  <a:schemeClr val="accent5"/>
                </a:solidFill>
              </a:defRPr>
            </a:lvl2pPr>
            <a:lvl3pPr marL="455925" indent="0">
              <a:buNone/>
              <a:defRPr b="1">
                <a:solidFill>
                  <a:schemeClr val="accent5"/>
                </a:solidFill>
              </a:defRPr>
            </a:lvl3pPr>
            <a:lvl4pPr marL="628482" indent="0">
              <a:buNone/>
              <a:defRPr b="1">
                <a:solidFill>
                  <a:schemeClr val="accent5"/>
                </a:solidFill>
              </a:defRPr>
            </a:lvl4pPr>
            <a:lvl5pPr marL="80104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61" y="160046"/>
            <a:ext cx="6592493" cy="361829"/>
          </a:xfrm>
        </p:spPr>
        <p:txBody>
          <a:bodyPr anchor="t"/>
          <a:lstStyle>
            <a:lvl1pPr marL="0" indent="0" algn="r">
              <a:buNone/>
              <a:defRPr sz="1500" b="0">
                <a:solidFill>
                  <a:schemeClr val="accent5"/>
                </a:solidFill>
              </a:defRPr>
            </a:lvl1pPr>
            <a:lvl2pPr marL="235880" indent="0">
              <a:buNone/>
              <a:defRPr b="1">
                <a:solidFill>
                  <a:schemeClr val="accent5"/>
                </a:solidFill>
              </a:defRPr>
            </a:lvl2pPr>
            <a:lvl3pPr marL="455925" indent="0">
              <a:buNone/>
              <a:defRPr b="1">
                <a:solidFill>
                  <a:schemeClr val="accent5"/>
                </a:solidFill>
              </a:defRPr>
            </a:lvl3pPr>
            <a:lvl4pPr marL="628482" indent="0">
              <a:buNone/>
              <a:defRPr b="1">
                <a:solidFill>
                  <a:schemeClr val="accent5"/>
                </a:solidFill>
              </a:defRPr>
            </a:lvl4pPr>
            <a:lvl5pPr marL="80104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5606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78" rIns="91183" bIns="45578" rtlCol="0" anchor="ctr"/>
          <a:lstStyle/>
          <a:p>
            <a:pPr algn="ctr" defTabSz="911847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78"/>
          </a:xfrm>
        </p:spPr>
        <p:txBody>
          <a:bodyPr vert="horz" lIns="91183" tIns="45578" rIns="91183" bIns="4557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1"/>
            <a:ext cx="11336268" cy="415232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194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78"/>
          </a:xfrm>
        </p:spPr>
        <p:txBody>
          <a:bodyPr vert="horz" lIns="91183" tIns="45578" rIns="91183" bIns="4557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78" rIns="91183" bIns="45578" rtlCol="0" anchor="ctr"/>
          <a:lstStyle/>
          <a:p>
            <a:pPr algn="ctr" defTabSz="911847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7997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5"/>
            <a:ext cx="11336119" cy="1005728"/>
          </a:xfrm>
        </p:spPr>
        <p:txBody>
          <a:bodyPr lIns="0" anchor="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5" y="1426805"/>
            <a:ext cx="11336119" cy="4525963"/>
          </a:xfrm>
        </p:spPr>
        <p:txBody>
          <a:bodyPr lIns="0"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4" tIns="45583" rIns="91194" bIns="45583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93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78"/>
          </a:xfrm>
        </p:spPr>
        <p:txBody>
          <a:bodyPr vert="horz" lIns="91183" tIns="45578" rIns="91183" bIns="45578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4" y="1141424"/>
            <a:ext cx="11336119" cy="5013325"/>
          </a:xfrm>
        </p:spPr>
        <p:txBody>
          <a:bodyPr vert="horz" lIns="91183" tIns="45578" rIns="91183" bIns="45578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78" rIns="91183" bIns="45578" rtlCol="0" anchor="ctr"/>
          <a:lstStyle/>
          <a:p>
            <a:pPr algn="ctr" defTabSz="911847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4163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895567"/>
              </p:ext>
            </p:extLst>
          </p:nvPr>
        </p:nvGraphicFramePr>
        <p:xfrm>
          <a:off x="1592" y="1610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610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78" rIns="91183" bIns="45578" rtlCol="0" anchor="ctr"/>
          <a:lstStyle/>
          <a:p>
            <a:pPr algn="ctr" defTabSz="911847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54" y="336234"/>
            <a:ext cx="11336119" cy="461378"/>
          </a:xfrm>
        </p:spPr>
        <p:txBody>
          <a:bodyPr vert="horz" lIns="91183" tIns="45578" rIns="91183" bIns="45578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32" y="728611"/>
            <a:ext cx="11336268" cy="415232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5670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8803705"/>
              </p:ext>
            </p:extLst>
          </p:nvPr>
        </p:nvGraphicFramePr>
        <p:xfrm>
          <a:off x="2119" y="1610"/>
          <a:ext cx="21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610"/>
                        <a:ext cx="210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554435" y="3541384"/>
            <a:ext cx="2856764" cy="285668"/>
          </a:xfrm>
        </p:spPr>
        <p:txBody>
          <a:bodyPr anchor="t"/>
          <a:lstStyle>
            <a:lvl1pPr marL="0" indent="0">
              <a:buNone/>
              <a:defRPr sz="1500" b="1" baseline="0">
                <a:solidFill>
                  <a:schemeClr val="accent5"/>
                </a:solidFill>
              </a:defRPr>
            </a:lvl1pPr>
            <a:lvl2pPr marL="226105" indent="0">
              <a:buNone/>
              <a:defRPr/>
            </a:lvl2pPr>
            <a:lvl3pPr marL="437029" indent="0">
              <a:buNone/>
              <a:defRPr/>
            </a:lvl3pPr>
            <a:lvl4pPr marL="602436" indent="0">
              <a:buNone/>
              <a:defRPr/>
            </a:lvl4pPr>
            <a:lvl5pPr marL="767840" indent="0">
              <a:buNone/>
              <a:defRPr/>
            </a:lvl5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435" y="2501109"/>
            <a:ext cx="10640976" cy="1315308"/>
          </a:xfrm>
        </p:spPr>
        <p:txBody>
          <a:bodyPr/>
          <a:lstStyle>
            <a:lvl1pPr>
              <a:defRPr sz="3200" b="1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54434" y="2060446"/>
            <a:ext cx="5185673" cy="414978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26105" indent="0" algn="l">
              <a:buNone/>
              <a:defRPr baseline="0"/>
            </a:lvl2pPr>
          </a:lstStyle>
          <a:p>
            <a:pPr lvl="0"/>
            <a:r>
              <a:rPr lang="en-US" dirty="0"/>
              <a:t>GROUP NAME HE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" y="4307751"/>
            <a:ext cx="8445721" cy="1231902"/>
          </a:xfrm>
          <a:prstGeom prst="rect">
            <a:avLst/>
          </a:prstGeom>
        </p:spPr>
      </p:pic>
      <p:sp>
        <p:nvSpPr>
          <p:cNvPr id="2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54435" y="3822275"/>
            <a:ext cx="2856764" cy="285668"/>
          </a:xfrm>
        </p:spPr>
        <p:txBody>
          <a:bodyPr anchor="t"/>
          <a:lstStyle>
            <a:lvl1pPr marL="0" indent="0">
              <a:buNone/>
              <a:defRPr sz="1500" b="0" baseline="0">
                <a:solidFill>
                  <a:srgbClr val="404040"/>
                </a:solidFill>
              </a:defRPr>
            </a:lvl1pPr>
            <a:lvl2pPr marL="226105" indent="0">
              <a:buNone/>
              <a:defRPr/>
            </a:lvl2pPr>
            <a:lvl3pPr marL="437029" indent="0">
              <a:buNone/>
              <a:defRPr/>
            </a:lvl3pPr>
            <a:lvl4pPr marL="602436" indent="0">
              <a:buNone/>
              <a:defRPr/>
            </a:lvl4pPr>
            <a:lvl5pPr marL="767840" indent="0">
              <a:buNone/>
              <a:defRPr/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643593" y="113010"/>
            <a:ext cx="3321886" cy="346077"/>
          </a:xfrm>
        </p:spPr>
        <p:txBody>
          <a:bodyPr/>
          <a:lstStyle>
            <a:lvl1pPr algn="r">
              <a:defRPr sz="1500"/>
            </a:lvl1pPr>
          </a:lstStyle>
          <a:p>
            <a:pPr lvl="0"/>
            <a:r>
              <a:rPr lang="en-US" dirty="0"/>
              <a:t>EDIT DATE HERE</a:t>
            </a:r>
          </a:p>
        </p:txBody>
      </p:sp>
    </p:spTree>
    <p:extLst>
      <p:ext uri="{BB962C8B-B14F-4D97-AF65-F5344CB8AC3E}">
        <p14:creationId xmlns:p14="http://schemas.microsoft.com/office/powerpoint/2010/main" val="3935485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458401"/>
              </p:ext>
            </p:extLst>
          </p:nvPr>
        </p:nvGraphicFramePr>
        <p:xfrm>
          <a:off x="2119" y="1610"/>
          <a:ext cx="21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610"/>
                        <a:ext cx="210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7"/>
            <a:ext cx="11336119" cy="1005729"/>
          </a:xfrm>
        </p:spPr>
        <p:txBody>
          <a:bodyPr lIns="0" anchor="t"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5" y="1426782"/>
            <a:ext cx="11336119" cy="4525962"/>
          </a:xfrm>
        </p:spPr>
        <p:txBody>
          <a:bodyPr lIns="0"/>
          <a:lstStyle>
            <a:lvl1pPr>
              <a:defRPr sz="1600">
                <a:latin typeface="+mj-lt"/>
                <a:cs typeface="Arial" panose="020B0604020202020204" pitchFamily="34" charset="0"/>
              </a:defRPr>
            </a:lvl1pPr>
            <a:lvl2pPr>
              <a:defRPr sz="1500">
                <a:latin typeface="+mj-lt"/>
                <a:cs typeface="Arial" panose="020B0604020202020204" pitchFamily="34" charset="0"/>
              </a:defRPr>
            </a:lvl2pPr>
            <a:lvl3pPr>
              <a:defRPr sz="1300">
                <a:latin typeface="+mj-lt"/>
                <a:cs typeface="Arial" panose="020B0604020202020204" pitchFamily="34" charset="0"/>
              </a:defRPr>
            </a:lvl3pPr>
            <a:lvl4pPr>
              <a:defRPr sz="1100">
                <a:latin typeface="+mj-lt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405" tIns="43701" rIns="87405" bIns="43701" rtlCol="0" anchor="ctr"/>
          <a:lstStyle/>
          <a:p>
            <a:pPr algn="ctr" defTabSz="874060"/>
            <a:endParaRPr lang="en-US" sz="16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0955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306126" y="-1692"/>
            <a:ext cx="117469" cy="1175658"/>
            <a:chOff x="0" y="0"/>
            <a:chExt cx="9144000" cy="5155044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9144000" cy="4364184"/>
            </a:xfrm>
            <a:prstGeom prst="rect">
              <a:avLst/>
            </a:prstGeom>
            <a:solidFill>
              <a:srgbClr val="336B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4060"/>
              <a:endParaRPr lang="en-US" sz="16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4214091"/>
              <a:ext cx="9144000" cy="940953"/>
            </a:xfrm>
            <a:prstGeom prst="rect">
              <a:avLst/>
            </a:prstGeom>
            <a:solidFill>
              <a:srgbClr val="4999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4060"/>
              <a:endParaRPr lang="en-US" sz="16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0" y="336213"/>
            <a:ext cx="10568524" cy="1143000"/>
          </a:xfrm>
        </p:spPr>
        <p:txBody>
          <a:bodyPr/>
          <a:lstStyle>
            <a:lvl1pPr>
              <a:defRPr b="1">
                <a:solidFill>
                  <a:srgbClr val="4D4D4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3213" y="1426782"/>
            <a:ext cx="10310536" cy="4525962"/>
          </a:xfrm>
        </p:spPr>
        <p:txBody>
          <a:bodyPr/>
          <a:lstStyle>
            <a:lvl1pPr>
              <a:defRPr sz="1900">
                <a:latin typeface="+mj-lt"/>
                <a:cs typeface="Arial" panose="020B0604020202020204" pitchFamily="34" charset="0"/>
              </a:defRPr>
            </a:lvl1pPr>
            <a:lvl2pPr>
              <a:defRPr sz="1500">
                <a:latin typeface="+mj-lt"/>
                <a:cs typeface="Arial" panose="020B0604020202020204" pitchFamily="34" charset="0"/>
              </a:defRPr>
            </a:lvl2pPr>
            <a:lvl3pPr>
              <a:defRPr sz="1300">
                <a:latin typeface="+mj-lt"/>
                <a:cs typeface="Arial" panose="020B0604020202020204" pitchFamily="34" charset="0"/>
              </a:defRPr>
            </a:lvl3pPr>
            <a:lvl4pPr>
              <a:defRPr sz="1100">
                <a:latin typeface="+mj-lt"/>
                <a:cs typeface="Arial" panose="020B0604020202020204" pitchFamily="34" charset="0"/>
              </a:defRPr>
            </a:lvl4pPr>
            <a:lvl5pPr>
              <a:defRPr sz="11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4099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306126" y="-1692"/>
            <a:ext cx="117469" cy="1175658"/>
            <a:chOff x="0" y="0"/>
            <a:chExt cx="9144000" cy="5155044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9144000" cy="4364184"/>
            </a:xfrm>
            <a:prstGeom prst="rect">
              <a:avLst/>
            </a:prstGeom>
            <a:solidFill>
              <a:srgbClr val="336B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4060"/>
              <a:endParaRPr lang="en-US" sz="16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4214091"/>
              <a:ext cx="9144000" cy="940953"/>
            </a:xfrm>
            <a:prstGeom prst="rect">
              <a:avLst/>
            </a:prstGeom>
            <a:solidFill>
              <a:srgbClr val="4999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4060"/>
              <a:endParaRPr lang="en-US" sz="160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0" y="336213"/>
            <a:ext cx="10568524" cy="1143000"/>
          </a:xfrm>
        </p:spPr>
        <p:txBody>
          <a:bodyPr/>
          <a:lstStyle>
            <a:lvl1pPr>
              <a:defRPr b="1">
                <a:solidFill>
                  <a:srgbClr val="4D4D4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00136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0" y="336213"/>
            <a:ext cx="10568524" cy="1143000"/>
          </a:xfrm>
        </p:spPr>
        <p:txBody>
          <a:bodyPr/>
          <a:lstStyle>
            <a:lvl1pPr>
              <a:defRPr b="1">
                <a:solidFill>
                  <a:srgbClr val="4D4D4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3213" y="1426782"/>
            <a:ext cx="10310536" cy="4525962"/>
          </a:xfrm>
        </p:spPr>
        <p:txBody>
          <a:bodyPr/>
          <a:lstStyle>
            <a:lvl1pPr>
              <a:defRPr sz="1900">
                <a:latin typeface="+mj-lt"/>
                <a:cs typeface="Arial" panose="020B0604020202020204" pitchFamily="34" charset="0"/>
              </a:defRPr>
            </a:lvl1pPr>
            <a:lvl2pPr>
              <a:defRPr sz="1500">
                <a:latin typeface="+mj-lt"/>
                <a:cs typeface="Arial" panose="020B0604020202020204" pitchFamily="34" charset="0"/>
              </a:defRPr>
            </a:lvl2pPr>
            <a:lvl3pPr>
              <a:defRPr sz="1300">
                <a:latin typeface="+mj-lt"/>
                <a:cs typeface="Arial" panose="020B0604020202020204" pitchFamily="34" charset="0"/>
              </a:defRPr>
            </a:lvl3pPr>
            <a:lvl4pPr>
              <a:defRPr sz="1100">
                <a:latin typeface="+mj-lt"/>
                <a:cs typeface="Arial" panose="020B0604020202020204" pitchFamily="34" charset="0"/>
              </a:defRPr>
            </a:lvl4pPr>
            <a:lvl5pPr>
              <a:defRPr sz="11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72826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7"/>
            <a:ext cx="11336119" cy="1005729"/>
          </a:xfrm>
        </p:spPr>
        <p:txBody>
          <a:bodyPr lIns="0" anchor="t"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55" y="1426782"/>
            <a:ext cx="11336119" cy="4525962"/>
          </a:xfrm>
        </p:spPr>
        <p:txBody>
          <a:bodyPr lIns="0"/>
          <a:lstStyle>
            <a:lvl1pPr>
              <a:defRPr sz="1600">
                <a:latin typeface="+mj-lt"/>
                <a:cs typeface="Arial" panose="020B0604020202020204" pitchFamily="34" charset="0"/>
              </a:defRPr>
            </a:lvl1pPr>
            <a:lvl2pPr>
              <a:defRPr sz="1500">
                <a:latin typeface="+mj-lt"/>
                <a:cs typeface="Arial" panose="020B0604020202020204" pitchFamily="34" charset="0"/>
              </a:defRPr>
            </a:lvl2pPr>
            <a:lvl3pPr>
              <a:defRPr sz="1300">
                <a:latin typeface="+mj-lt"/>
                <a:cs typeface="Arial" panose="020B0604020202020204" pitchFamily="34" charset="0"/>
              </a:defRPr>
            </a:lvl3pPr>
            <a:lvl4pPr>
              <a:defRPr sz="1100">
                <a:latin typeface="+mj-lt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405" tIns="43701" rIns="87405" bIns="43701" rtlCol="0" anchor="ctr"/>
          <a:lstStyle/>
          <a:p>
            <a:pPr algn="ctr" defTabSz="874060"/>
            <a:endParaRPr lang="en-US" sz="16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4034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233169"/>
              </p:ext>
            </p:extLst>
          </p:nvPr>
        </p:nvGraphicFramePr>
        <p:xfrm>
          <a:off x="2119" y="1610"/>
          <a:ext cx="21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610"/>
                        <a:ext cx="210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7"/>
            <a:ext cx="11336119" cy="1005729"/>
          </a:xfrm>
        </p:spPr>
        <p:txBody>
          <a:bodyPr lIns="0" anchor="t"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405" tIns="43701" rIns="87405" bIns="43701" rtlCol="0" anchor="ctr"/>
          <a:lstStyle/>
          <a:p>
            <a:pPr algn="ctr" defTabSz="874060"/>
            <a:endParaRPr lang="en-US" sz="16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8604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620670" y="6087378"/>
            <a:ext cx="2541762" cy="722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405" tIns="43701" rIns="87405" bIns="43701" rtlCol="0" anchor="ctr"/>
          <a:lstStyle/>
          <a:p>
            <a:pPr algn="ctr" defTabSz="874060"/>
            <a:endParaRPr lang="en-US" sz="16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3" descr="Cover_7-05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683028"/>
            <a:ext cx="12162426" cy="61749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55" y="336217"/>
            <a:ext cx="11336119" cy="1005729"/>
          </a:xfrm>
        </p:spPr>
        <p:txBody>
          <a:bodyPr lIns="0" anchor="t"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405" tIns="43701" rIns="87405" bIns="43701" rtlCol="0" anchor="ctr"/>
          <a:lstStyle/>
          <a:p>
            <a:pPr algn="ctr" defTabSz="874060"/>
            <a:endParaRPr lang="en-US" sz="16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8477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348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4069" y="1452579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defRPr/>
            </a:lvl1pPr>
          </a:lstStyle>
          <a:p>
            <a:r>
              <a:rPr lang="en-US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238803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9804"/>
              </p:ext>
            </p:extLst>
          </p:nvPr>
        </p:nvGraphicFramePr>
        <p:xfrm>
          <a:off x="2059" y="1534"/>
          <a:ext cx="2051" cy="15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59" y="1534"/>
                        <a:ext cx="2051" cy="152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GENDA-03.pn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61838" cy="617469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-6294" y="6448532"/>
            <a:ext cx="779117" cy="378809"/>
          </a:xfrm>
          <a:prstGeom prst="rect">
            <a:avLst/>
          </a:prstGeom>
        </p:spPr>
        <p:txBody>
          <a:bodyPr lIns="87405" tIns="43701" rIns="87405" bIns="43701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985B2-3851-5B49-8B99-AED0CC6BDA78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8026" y="3540614"/>
            <a:ext cx="11125202" cy="1047106"/>
          </a:xfrm>
        </p:spPr>
        <p:txBody>
          <a:bodyPr/>
          <a:lstStyle>
            <a:lvl1pPr>
              <a:lnSpc>
                <a:spcPct val="100000"/>
              </a:lnSpc>
              <a:defRPr sz="3800" b="1" spc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28175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idelity Internal Informa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28" y="6631459"/>
            <a:ext cx="4155295" cy="197128"/>
          </a:xfrm>
          <a:prstGeom prst="rect">
            <a:avLst/>
          </a:prstGeom>
        </p:spPr>
        <p:txBody>
          <a:bodyPr vert="horz" lIns="91414" tIns="45708" rIns="91414" bIns="45708" rtlCol="0" anchor="ctr">
            <a:noAutofit/>
          </a:bodyPr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D8D8D8">
                    <a:lumMod val="75000"/>
                  </a:srgbClr>
                </a:solidFill>
              </a:rPr>
              <a:t>Fidelity Internal Information</a:t>
            </a:r>
            <a:endParaRPr lang="en-US" dirty="0">
              <a:solidFill>
                <a:srgbClr val="D8D8D8">
                  <a:lumMod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0061161" y="6301059"/>
            <a:ext cx="2100681" cy="556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/>
          <a:lstStyle/>
          <a:p>
            <a:pPr algn="ctr" defTabSz="911863"/>
            <a:endParaRPr lang="en-US" sz="18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7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auto">
          <a:xfrm>
            <a:off x="-2" y="3863765"/>
            <a:ext cx="12161842" cy="36907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89" tIns="45593" rIns="91189" bIns="4559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104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22056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089" indent="-341827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629" indent="-341827">
              <a:buClr>
                <a:srgbClr val="595959"/>
              </a:buClr>
              <a:buFont typeface="Arial" panose="020B0604020202020204" pitchFamily="34" charset="0"/>
              <a:buChar char="•"/>
              <a:defRPr sz="19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58045" y="1383558"/>
            <a:ext cx="5498962" cy="1934292"/>
          </a:xfrm>
        </p:spPr>
        <p:txBody>
          <a:bodyPr/>
          <a:lstStyle>
            <a:lvl1pPr marL="0" indent="0">
              <a:buNone/>
              <a:defRPr sz="20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77089" indent="-341827">
              <a:buClr>
                <a:srgbClr val="595959"/>
              </a:buClr>
              <a:buFont typeface="Arial" panose="020B0604020202020204" pitchFamily="34" charset="0"/>
              <a:buChar char="•"/>
              <a:defRPr sz="23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16629" indent="-341827">
              <a:buClr>
                <a:srgbClr val="595959"/>
              </a:buClr>
              <a:buFont typeface="Arial" panose="020B0604020202020204" pitchFamily="34" charset="0"/>
              <a:buChar char="•"/>
              <a:defRPr sz="19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595959"/>
              </a:buClr>
              <a:defRPr sz="16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Insert confidentiality label her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04204" y="12"/>
            <a:ext cx="11353461" cy="9897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/>
        </p:nvGraphicFramePr>
        <p:xfrm>
          <a:off x="2119" y="1597"/>
          <a:ext cx="21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 bwMode="auto">
          <a:xfrm>
            <a:off x="-2" y="3863765"/>
            <a:ext cx="12161842" cy="369075"/>
          </a:xfrm>
          <a:prstGeom prst="rect">
            <a:avLst/>
          </a:prstGeom>
          <a:gradFill>
            <a:gsLst>
              <a:gs pos="100000">
                <a:srgbClr val="DBE8E9"/>
              </a:gs>
              <a:gs pos="0">
                <a:schemeClr val="bg1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89" tIns="45593" rIns="91189" bIns="4559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64104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1589"/>
          <a:ext cx="211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589"/>
                        <a:ext cx="211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110"/>
          <p:cNvSpPr txBox="1">
            <a:spLocks/>
          </p:cNvSpPr>
          <p:nvPr userDrawn="1"/>
        </p:nvSpPr>
        <p:spPr>
          <a:xfrm>
            <a:off x="9578085" y="6675968"/>
            <a:ext cx="2345556" cy="206103"/>
          </a:xfrm>
          <a:prstGeom prst="rect">
            <a:avLst/>
          </a:prstGeom>
        </p:spPr>
        <p:txBody>
          <a:bodyPr vert="horz" lIns="84581" tIns="42289" rIns="84581" bIns="42289" rtlCol="0" anchor="ctr">
            <a:noAutofit/>
          </a:bodyPr>
          <a:lstStyle>
            <a:defPPr>
              <a:defRPr lang="en-US"/>
            </a:defPPr>
            <a:lvl1pPr marL="0" algn="ctr" defTabSz="913586" rtl="0" eaLnBrk="1" latinLnBrk="0" hangingPunct="1">
              <a:defRPr sz="800" kern="12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6791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86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75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70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64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58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549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343" algn="l" defTabSz="91358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D8D8D8">
                    <a:lumMod val="75000"/>
                  </a:srgbClr>
                </a:solidFill>
              </a:rPr>
              <a:t>Fidelity Confidential Information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648" y="-724"/>
            <a:ext cx="11416502" cy="7762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456" y="1179516"/>
            <a:ext cx="11488292" cy="51498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GL right side logo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20" y="336214"/>
            <a:ext cx="11336118" cy="1005728"/>
          </a:xfrm>
        </p:spPr>
        <p:txBody>
          <a:bodyPr lIns="0" anchor="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0" y="1426780"/>
            <a:ext cx="11336118" cy="4525963"/>
          </a:xfrm>
        </p:spPr>
        <p:txBody>
          <a:bodyPr lIns="0"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"/>
            <a:ext cx="12161838" cy="118872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0" tIns="45588" rIns="91180" bIns="45588" rtlCol="0" anchor="ctr"/>
          <a:lstStyle/>
          <a:p>
            <a:pPr algn="ctr" defTabSz="911863"/>
            <a:endParaRPr lang="en-US" sz="18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741" y="6437312"/>
            <a:ext cx="7400564" cy="303212"/>
          </a:xfrm>
          <a:prstGeom prst="rect">
            <a:avLst/>
          </a:prstGeom>
        </p:spPr>
        <p:txBody>
          <a:bodyPr lIns="86470" tIns="43236" rIns="86470" bIns="43236"/>
          <a:lstStyle>
            <a:lvl1pPr defTabSz="911721"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 dirty="0"/>
              <a:t>Fidelity Confidential Information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90919"/>
            <a:ext cx="12161838" cy="5767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03" y="6395149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61238" y="2032763"/>
            <a:ext cx="10337965" cy="384603"/>
          </a:xfrm>
        </p:spPr>
        <p:txBody>
          <a:bodyPr anchor="b"/>
          <a:lstStyle>
            <a:lvl1pPr marL="0" indent="0">
              <a:buNone/>
              <a:defRPr sz="1900" b="0">
                <a:solidFill>
                  <a:srgbClr val="8BA69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30074" indent="0">
              <a:buNone/>
              <a:defRPr sz="1600"/>
            </a:lvl2pPr>
            <a:lvl3pPr marL="860144" indent="0">
              <a:buNone/>
              <a:defRPr sz="1500"/>
            </a:lvl3pPr>
            <a:lvl4pPr marL="1290218" indent="0">
              <a:buNone/>
              <a:defRPr sz="1300"/>
            </a:lvl4pPr>
            <a:lvl5pPr marL="1720289" indent="0">
              <a:buNone/>
              <a:defRPr sz="1300"/>
            </a:lvl5pPr>
            <a:lvl6pPr marL="2150357" indent="0">
              <a:buNone/>
              <a:defRPr sz="1300"/>
            </a:lvl6pPr>
            <a:lvl7pPr marL="2580432" indent="0">
              <a:buNone/>
              <a:defRPr sz="1300"/>
            </a:lvl7pPr>
            <a:lvl8pPr marL="3010504" indent="0">
              <a:buNone/>
              <a:defRPr sz="1300"/>
            </a:lvl8pPr>
            <a:lvl9pPr marL="3440576" indent="0"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958830" y="1398243"/>
            <a:ext cx="10415685" cy="676992"/>
          </a:xfrm>
        </p:spPr>
        <p:txBody>
          <a:bodyPr/>
          <a:lstStyle>
            <a:lvl1pPr>
              <a:defRPr sz="3800">
                <a:solidFill>
                  <a:srgbClr val="595959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Insert confidentiality label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02486" y="5733172"/>
            <a:ext cx="1701811" cy="276882"/>
          </a:xfrm>
        </p:spPr>
        <p:txBody>
          <a:bodyPr/>
          <a:lstStyle>
            <a:lvl1pPr algn="l">
              <a:defRPr sz="1100" baseline="0">
                <a:solidFill>
                  <a:srgbClr val="595959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9" name="Picture 14" descr="Fid_Logo_Grey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203" y="6395149"/>
            <a:ext cx="1733385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337" y="1452573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4069" y="1452573"/>
            <a:ext cx="5401038" cy="2841095"/>
          </a:xfr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defRPr/>
            </a:lvl1pPr>
          </a:lstStyle>
          <a:p>
            <a:r>
              <a:rPr lang="en-US"/>
              <a:t>Fidelity Internal Informatio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9121378" y="6565961"/>
            <a:ext cx="2432368" cy="219075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ts val="599"/>
              </a:spcAft>
            </a:pPr>
            <a:fld id="{F8491CF6-610A-4F32-BDB1-CD359CF616C7}" type="slidenum">
              <a:rPr lang="en-US" sz="800">
                <a:solidFill>
                  <a:srgbClr val="275E37"/>
                </a:solidFill>
              </a:rPr>
              <a:pPr algn="r" eaLnBrk="1" hangingPunct="1">
                <a:spcAft>
                  <a:spcPts val="599"/>
                </a:spcAft>
              </a:pPr>
              <a:t>‹#›</a:t>
            </a:fld>
            <a:endParaRPr lang="en-US" sz="800">
              <a:solidFill>
                <a:srgbClr val="275E37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90522" y="2057400"/>
            <a:ext cx="10580799" cy="3886200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 sz="2300"/>
            </a:lvl1pPr>
            <a:lvl2pPr marL="455988" indent="0">
              <a:buNone/>
              <a:defRPr sz="2800"/>
            </a:lvl2pPr>
            <a:lvl3pPr marL="911971" indent="0">
              <a:buNone/>
              <a:defRPr sz="2300"/>
            </a:lvl3pPr>
            <a:lvl4pPr marL="1367968" indent="0">
              <a:buNone/>
              <a:defRPr sz="2000"/>
            </a:lvl4pPr>
            <a:lvl5pPr marL="1823948" indent="0">
              <a:buNone/>
              <a:defRPr sz="2000"/>
            </a:lvl5pPr>
            <a:lvl6pPr marL="2279938" indent="0">
              <a:buNone/>
              <a:defRPr sz="2000"/>
            </a:lvl6pPr>
            <a:lvl7pPr marL="2735931" indent="0">
              <a:buNone/>
              <a:defRPr sz="2000"/>
            </a:lvl7pPr>
            <a:lvl8pPr marL="3191903" indent="0">
              <a:buNone/>
              <a:defRPr sz="2000"/>
            </a:lvl8pPr>
            <a:lvl9pPr marL="3647907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0522" y="6035572"/>
            <a:ext cx="10580799" cy="292121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5988" indent="0">
              <a:buNone/>
              <a:defRPr sz="1300"/>
            </a:lvl2pPr>
            <a:lvl3pPr marL="911971" indent="0">
              <a:buNone/>
              <a:defRPr sz="1000"/>
            </a:lvl3pPr>
            <a:lvl4pPr marL="1367968" indent="0">
              <a:buNone/>
              <a:defRPr sz="900"/>
            </a:lvl4pPr>
            <a:lvl5pPr marL="1823948" indent="0">
              <a:buNone/>
              <a:defRPr sz="900"/>
            </a:lvl5pPr>
            <a:lvl6pPr marL="2279938" indent="0">
              <a:buNone/>
              <a:defRPr sz="900"/>
            </a:lvl6pPr>
            <a:lvl7pPr marL="2735931" indent="0">
              <a:buNone/>
              <a:defRPr sz="900"/>
            </a:lvl7pPr>
            <a:lvl8pPr marL="3191903" indent="0">
              <a:buNone/>
              <a:defRPr sz="900"/>
            </a:lvl8pPr>
            <a:lvl9pPr marL="364790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90522" y="1280182"/>
            <a:ext cx="10580799" cy="2312161"/>
          </a:xfrm>
        </p:spPr>
        <p:txBody>
          <a:bodyPr>
            <a:spAutoFit/>
          </a:bodyPr>
          <a:lstStyle>
            <a:lvl1pPr marL="273593" indent="-273593">
              <a:spcAft>
                <a:spcPts val="500"/>
              </a:spcAft>
              <a:buClr>
                <a:schemeClr val="accent1"/>
              </a:buClr>
              <a:buFont typeface="Arial Black" pitchFamily="34" charset="0"/>
              <a:buChar char="›"/>
              <a:defRPr sz="2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20780" indent="-182394"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defRPr sz="2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367968" indent="-182394"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68915" y="6556411"/>
            <a:ext cx="1925624" cy="301625"/>
          </a:xfrm>
          <a:prstGeom prst="rect">
            <a:avLst/>
          </a:prstGeom>
        </p:spPr>
        <p:txBody>
          <a:bodyPr lIns="91201" tIns="45588" rIns="91201" bIns="45588"/>
          <a:lstStyle>
            <a:lvl1pPr>
              <a:defRPr/>
            </a:lvl1pPr>
          </a:lstStyle>
          <a:p>
            <a:pPr>
              <a:defRPr/>
            </a:pPr>
            <a:fld id="{9D1DCEBE-FBA3-4B94-8F29-DE46ED999B0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6743" y="6565963"/>
            <a:ext cx="3851249" cy="2476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8648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9121378" y="6565914"/>
            <a:ext cx="2432368" cy="219075"/>
          </a:xfrm>
          <a:prstGeom prst="rect">
            <a:avLst/>
          </a:prstGeom>
          <a:noFill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defTabSz="911863" eaLnBrk="1" hangingPunct="1">
              <a:spcAft>
                <a:spcPts val="598"/>
              </a:spcAft>
            </a:pPr>
            <a:fld id="{F8491CF6-610A-4F32-BDB1-CD359CF616C7}" type="slidenum">
              <a:rPr lang="en-US" sz="600">
                <a:solidFill>
                  <a:srgbClr val="275E37"/>
                </a:solidFill>
              </a:rPr>
              <a:pPr algn="r" defTabSz="911863" eaLnBrk="1" hangingPunct="1">
                <a:spcAft>
                  <a:spcPts val="598"/>
                </a:spcAft>
              </a:pPr>
              <a:t>‹#›</a:t>
            </a:fld>
            <a:endParaRPr lang="en-US" sz="600">
              <a:solidFill>
                <a:srgbClr val="275E37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90522" y="2057400"/>
            <a:ext cx="10580799" cy="3886200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 sz="2400"/>
            </a:lvl1pPr>
            <a:lvl2pPr marL="455904" indent="0">
              <a:buNone/>
              <a:defRPr sz="2800"/>
            </a:lvl2pPr>
            <a:lvl3pPr marL="911808" indent="0">
              <a:buNone/>
              <a:defRPr sz="2400"/>
            </a:lvl3pPr>
            <a:lvl4pPr marL="1367711" indent="0">
              <a:buNone/>
              <a:defRPr sz="2000"/>
            </a:lvl4pPr>
            <a:lvl5pPr marL="1823614" indent="0">
              <a:buNone/>
              <a:defRPr sz="2000"/>
            </a:lvl5pPr>
            <a:lvl6pPr marL="2279518" indent="0">
              <a:buNone/>
              <a:defRPr sz="2000"/>
            </a:lvl6pPr>
            <a:lvl7pPr marL="2735423" indent="0">
              <a:buNone/>
              <a:defRPr sz="2000"/>
            </a:lvl7pPr>
            <a:lvl8pPr marL="3191326" indent="0">
              <a:buNone/>
              <a:defRPr sz="2000"/>
            </a:lvl8pPr>
            <a:lvl9pPr marL="364723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0522" y="6035299"/>
            <a:ext cx="10580799" cy="292364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5904" indent="0">
              <a:buNone/>
              <a:defRPr sz="1300"/>
            </a:lvl2pPr>
            <a:lvl3pPr marL="911808" indent="0">
              <a:buNone/>
              <a:defRPr sz="1000"/>
            </a:lvl3pPr>
            <a:lvl4pPr marL="1367711" indent="0">
              <a:buNone/>
              <a:defRPr sz="900"/>
            </a:lvl4pPr>
            <a:lvl5pPr marL="1823614" indent="0">
              <a:buNone/>
              <a:defRPr sz="900"/>
            </a:lvl5pPr>
            <a:lvl6pPr marL="2279518" indent="0">
              <a:buNone/>
              <a:defRPr sz="900"/>
            </a:lvl6pPr>
            <a:lvl7pPr marL="2735423" indent="0">
              <a:buNone/>
              <a:defRPr sz="900"/>
            </a:lvl7pPr>
            <a:lvl8pPr marL="3191326" indent="0">
              <a:buNone/>
              <a:defRPr sz="900"/>
            </a:lvl8pPr>
            <a:lvl9pPr marL="364723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90522" y="1280172"/>
            <a:ext cx="10580799" cy="2330870"/>
          </a:xfrm>
        </p:spPr>
        <p:txBody>
          <a:bodyPr>
            <a:spAutoFit/>
          </a:bodyPr>
          <a:lstStyle>
            <a:lvl1pPr marL="273543" indent="-273543">
              <a:spcAft>
                <a:spcPts val="499"/>
              </a:spcAft>
              <a:buClr>
                <a:schemeClr val="accent1"/>
              </a:buClr>
              <a:buFont typeface="Arial Black" pitchFamily="34" charset="0"/>
              <a:buChar char="›"/>
              <a:defRPr sz="2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20627" indent="-182362">
              <a:spcAft>
                <a:spcPts val="499"/>
              </a:spcAft>
              <a:buClr>
                <a:schemeClr val="accent1"/>
              </a:buClr>
              <a:buFont typeface="Arial" pitchFamily="34" charset="0"/>
              <a:buChar char="•"/>
              <a:defRPr sz="2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367711" indent="-182362">
              <a:spcAft>
                <a:spcPts val="499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67711" indent="-182362">
              <a:spcAft>
                <a:spcPts val="499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367711" indent="-182362">
              <a:spcAft>
                <a:spcPts val="499"/>
              </a:spcAft>
              <a:buClr>
                <a:schemeClr val="tx2"/>
              </a:buClr>
              <a:buFont typeface="Arial" pitchFamily="34" charset="0"/>
              <a:buChar char="›"/>
              <a:defRPr sz="2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68915" y="6556389"/>
            <a:ext cx="1925624" cy="301625"/>
          </a:xfrm>
          <a:prstGeom prst="rect">
            <a:avLst/>
          </a:prstGeom>
        </p:spPr>
        <p:txBody>
          <a:bodyPr lIns="91414" tIns="45708" rIns="91414" bIns="45708"/>
          <a:lstStyle>
            <a:lvl1pPr>
              <a:defRPr/>
            </a:lvl1pPr>
          </a:lstStyle>
          <a:p>
            <a:pPr defTabSz="911863">
              <a:defRPr/>
            </a:pPr>
            <a:fld id="{9D1DCEBE-FBA3-4B94-8F29-DE46ED999B0D}" type="slidenum">
              <a:rPr lang="en-US" smtClean="0">
                <a:solidFill>
                  <a:prstClr val="black"/>
                </a:solidFill>
              </a:rPr>
              <a:pPr defTabSz="911863"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6743" y="6565915"/>
            <a:ext cx="3851249" cy="2476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idelity Internal Information</a:t>
            </a:r>
            <a:endParaRPr lang="en-US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3"/>
            <a:ext cx="8935283" cy="1323407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7"/>
            <a:ext cx="8935283" cy="400077"/>
          </a:xfrm>
        </p:spPr>
        <p:txBody>
          <a:bodyPr>
            <a:spAutoFit/>
          </a:bodyPr>
          <a:lstStyle>
            <a:lvl1pPr marL="0" indent="0" algn="l">
              <a:buNone/>
              <a:defRPr lang="en-US" sz="20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17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1">
                <a:solidFill>
                  <a:schemeClr val="accent5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18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0" baseline="0">
                <a:solidFill>
                  <a:srgbClr val="404040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2"/>
            <a:ext cx="6592493" cy="361829"/>
          </a:xfrm>
        </p:spPr>
        <p:txBody>
          <a:bodyPr anchor="t"/>
          <a:lstStyle>
            <a:lvl1pPr marL="0" indent="0" algn="r">
              <a:buNone/>
              <a:defRPr sz="1600" b="0">
                <a:solidFill>
                  <a:schemeClr val="accent5"/>
                </a:solidFill>
              </a:defRPr>
            </a:lvl1pPr>
            <a:lvl2pPr marL="235863" indent="0">
              <a:buNone/>
              <a:defRPr b="1">
                <a:solidFill>
                  <a:schemeClr val="accent5"/>
                </a:solidFill>
              </a:defRPr>
            </a:lvl2pPr>
            <a:lvl3pPr marL="455899" indent="0">
              <a:buNone/>
              <a:defRPr b="1">
                <a:solidFill>
                  <a:schemeClr val="accent5"/>
                </a:solidFill>
              </a:defRPr>
            </a:lvl3pPr>
            <a:lvl4pPr marL="628442" indent="0">
              <a:buNone/>
              <a:defRPr b="1">
                <a:solidFill>
                  <a:schemeClr val="accent5"/>
                </a:solidFill>
              </a:defRPr>
            </a:lvl4pPr>
            <a:lvl5pPr marL="800987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7322"/>
            <a:ext cx="12161838" cy="3167939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6334" y="4140521"/>
            <a:ext cx="12161838" cy="566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"/>
            <a:ext cx="4205613" cy="3679464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396949" y="3540615"/>
            <a:ext cx="11336269" cy="769409"/>
          </a:xfrm>
        </p:spPr>
        <p:txBody>
          <a:bodyPr/>
          <a:lstStyle>
            <a:lvl1pPr>
              <a:lnSpc>
                <a:spcPct val="100000"/>
              </a:lnSpc>
              <a:defRPr sz="4400" b="1" spc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-6334" y="3105387"/>
            <a:ext cx="12161838" cy="425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3105392"/>
            <a:ext cx="12161838" cy="69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21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4810" y="1141416"/>
            <a:ext cx="5434429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499619"/>
            <a:ext cx="11336118" cy="4882516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121" y="1496185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294810" y="1496185"/>
            <a:ext cx="5434429" cy="4332287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9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7"/>
            <a:ext cx="11336269" cy="4000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16"/>
            <a:ext cx="11336118" cy="5013325"/>
          </a:xfrm>
        </p:spPr>
        <p:txBody>
          <a:bodyPr vert="horz" lIns="91407" tIns="45704" rIns="91407" bIns="45704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73356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idelity Internal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7454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620078" y="6147959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251" y="1922949"/>
            <a:ext cx="10568523" cy="630910"/>
          </a:xfrm>
        </p:spPr>
        <p:txBody>
          <a:bodyPr/>
          <a:lstStyle>
            <a:lvl1pPr>
              <a:lnSpc>
                <a:spcPct val="100000"/>
              </a:lnSpc>
              <a:defRPr sz="35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0"/>
            <a:ext cx="12161838" cy="142647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 no 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33"/>
          </a:xfrm>
        </p:spPr>
        <p:txBody>
          <a:bodyPr vert="horz" lIns="91407" tIns="45704" rIns="91407" bIns="45704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0078" y="6186059"/>
            <a:ext cx="2541760" cy="577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3" tIns="45593" rIns="91183" bIns="45593" rtlCol="0" anchor="ctr"/>
          <a:lstStyle/>
          <a:p>
            <a:pPr algn="ctr" defTabSz="911795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6"/>
            <a:ext cx="8935283" cy="1323407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4000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4"/>
            <a:ext cx="8935283" cy="415466"/>
          </a:xfrm>
        </p:spPr>
        <p:txBody>
          <a:bodyPr>
            <a:spAutoFit/>
          </a:bodyPr>
          <a:lstStyle>
            <a:lvl1pPr marL="0" indent="0" algn="l">
              <a:buNone/>
              <a:defRPr lang="en-US" sz="2100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0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6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21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1">
                <a:solidFill>
                  <a:schemeClr val="accent5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22"/>
            <a:ext cx="7009658" cy="384688"/>
          </a:xfrm>
        </p:spPr>
        <p:txBody>
          <a:bodyPr>
            <a:spAutoFit/>
          </a:bodyPr>
          <a:lstStyle>
            <a:lvl1pPr marL="0" indent="0">
              <a:buNone/>
              <a:defRPr sz="1900" b="0" baseline="0">
                <a:solidFill>
                  <a:srgbClr val="404040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4"/>
            <a:ext cx="6592493" cy="361829"/>
          </a:xfrm>
        </p:spPr>
        <p:txBody>
          <a:bodyPr anchor="t"/>
          <a:lstStyle>
            <a:lvl1pPr marL="0" indent="0" algn="r">
              <a:buNone/>
              <a:defRPr sz="1500" b="0">
                <a:solidFill>
                  <a:schemeClr val="accent5"/>
                </a:solidFill>
              </a:defRPr>
            </a:lvl1pPr>
            <a:lvl2pPr marL="235837" indent="0">
              <a:buNone/>
              <a:defRPr b="1">
                <a:solidFill>
                  <a:schemeClr val="accent5"/>
                </a:solidFill>
              </a:defRPr>
            </a:lvl2pPr>
            <a:lvl3pPr marL="455843" indent="0">
              <a:buNone/>
              <a:defRPr b="1">
                <a:solidFill>
                  <a:schemeClr val="accent5"/>
                </a:solidFill>
              </a:defRPr>
            </a:lvl3pPr>
            <a:lvl4pPr marL="628366" indent="0">
              <a:buNone/>
              <a:defRPr b="1">
                <a:solidFill>
                  <a:schemeClr val="accent5"/>
                </a:solidFill>
              </a:defRPr>
            </a:lvl4pPr>
            <a:lvl5pPr marL="800891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41546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118" y="1141423"/>
            <a:ext cx="11336118" cy="5013325"/>
          </a:xfrm>
        </p:spPr>
        <p:txBody>
          <a:bodyPr vert="horz" lIns="91397" tIns="45699" rIns="91397" bIns="45699" rtlCol="0">
            <a:noAutofit/>
          </a:bodyPr>
          <a:lstStyle>
            <a:lvl1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4"/>
            <a:ext cx="12161838" cy="142648"/>
          </a:xfrm>
          <a:prstGeom prst="rect">
            <a:avLst/>
          </a:prstGeom>
          <a:solidFill>
            <a:srgbClr val="D4D6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0" tIns="45587" rIns="91170" bIns="45587" rtlCol="0" anchor="ctr"/>
          <a:lstStyle/>
          <a:p>
            <a:pPr algn="ctr" defTabSz="911684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3118" y="336218"/>
            <a:ext cx="11336118" cy="461622"/>
          </a:xfrm>
        </p:spPr>
        <p:txBody>
          <a:bodyPr vert="horz" lIns="91397" tIns="45699" rIns="91397" bIns="45699" rtlCol="0" anchor="t">
            <a:spAutoFit/>
          </a:bodyPr>
          <a:lstStyle>
            <a:lvl1pPr>
              <a:def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726" y="728593"/>
            <a:ext cx="11336269" cy="415466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"/>
            <a:ext cx="12161838" cy="4978398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7" tIns="34280" rIns="68557" bIns="34280" rtlCol="0" anchor="ctr"/>
          <a:lstStyle/>
          <a:p>
            <a:pPr algn="ctr" defTabSz="685579"/>
            <a:endParaRPr lang="en-US" sz="1429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557" y="1680375"/>
            <a:ext cx="8935283" cy="555184"/>
          </a:xfr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lang="en-US" sz="3008" b="1" kern="1200" dirty="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557" y="1181108"/>
            <a:ext cx="8935283" cy="323774"/>
          </a:xfrm>
        </p:spPr>
        <p:txBody>
          <a:bodyPr>
            <a:spAutoFit/>
          </a:bodyPr>
          <a:lstStyle>
            <a:lvl1pPr marL="0" indent="0" algn="l">
              <a:buNone/>
              <a:defRPr lang="en-US" sz="1504" kern="1200" baseline="0" dirty="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GROUP NAM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0555" y="3239018"/>
            <a:ext cx="7009658" cy="312233"/>
          </a:xfrm>
        </p:spPr>
        <p:txBody>
          <a:bodyPr>
            <a:spAutoFit/>
          </a:bodyPr>
          <a:lstStyle>
            <a:lvl1pPr marL="0" indent="0">
              <a:buNone/>
              <a:defRPr sz="1429" b="1">
                <a:solidFill>
                  <a:schemeClr val="accent5"/>
                </a:solidFill>
              </a:defRPr>
            </a:lvl1pPr>
            <a:lvl2pPr marL="177345" indent="0">
              <a:buNone/>
              <a:defRPr b="1">
                <a:solidFill>
                  <a:schemeClr val="accent5"/>
                </a:solidFill>
              </a:defRPr>
            </a:lvl2pPr>
            <a:lvl3pPr marL="342790" indent="0">
              <a:buNone/>
              <a:defRPr b="1">
                <a:solidFill>
                  <a:schemeClr val="accent5"/>
                </a:solidFill>
              </a:defRPr>
            </a:lvl3pPr>
            <a:lvl4pPr marL="472526" indent="0">
              <a:buNone/>
              <a:defRPr b="1">
                <a:solidFill>
                  <a:schemeClr val="accent5"/>
                </a:solidFill>
              </a:defRPr>
            </a:lvl4pPr>
            <a:lvl5pPr marL="602262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0555" y="3604719"/>
            <a:ext cx="7009658" cy="312233"/>
          </a:xfrm>
        </p:spPr>
        <p:txBody>
          <a:bodyPr>
            <a:spAutoFit/>
          </a:bodyPr>
          <a:lstStyle>
            <a:lvl1pPr marL="0" indent="0">
              <a:buNone/>
              <a:defRPr sz="1429" b="0" baseline="0">
                <a:solidFill>
                  <a:srgbClr val="404040"/>
                </a:solidFill>
              </a:defRPr>
            </a:lvl1pPr>
            <a:lvl2pPr marL="177345" indent="0">
              <a:buNone/>
              <a:defRPr b="1">
                <a:solidFill>
                  <a:schemeClr val="accent5"/>
                </a:solidFill>
              </a:defRPr>
            </a:lvl2pPr>
            <a:lvl3pPr marL="342790" indent="0">
              <a:buNone/>
              <a:defRPr b="1">
                <a:solidFill>
                  <a:schemeClr val="accent5"/>
                </a:solidFill>
              </a:defRPr>
            </a:lvl3pPr>
            <a:lvl4pPr marL="472526" indent="0">
              <a:buNone/>
              <a:defRPr b="1">
                <a:solidFill>
                  <a:schemeClr val="accent5"/>
                </a:solidFill>
              </a:defRPr>
            </a:lvl4pPr>
            <a:lvl5pPr marL="602262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Presenter 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18257" y="160014"/>
            <a:ext cx="6592493" cy="361829"/>
          </a:xfrm>
        </p:spPr>
        <p:txBody>
          <a:bodyPr anchor="t"/>
          <a:lstStyle>
            <a:lvl1pPr marL="0" indent="0" algn="r">
              <a:buNone/>
              <a:defRPr sz="1203" b="0">
                <a:solidFill>
                  <a:schemeClr val="accent5"/>
                </a:solidFill>
              </a:defRPr>
            </a:lvl1pPr>
            <a:lvl2pPr marL="177345" indent="0">
              <a:buNone/>
              <a:defRPr b="1">
                <a:solidFill>
                  <a:schemeClr val="accent5"/>
                </a:solidFill>
              </a:defRPr>
            </a:lvl2pPr>
            <a:lvl3pPr marL="342790" indent="0">
              <a:buNone/>
              <a:defRPr b="1">
                <a:solidFill>
                  <a:schemeClr val="accent5"/>
                </a:solidFill>
              </a:defRPr>
            </a:lvl3pPr>
            <a:lvl4pPr marL="472526" indent="0">
              <a:buNone/>
              <a:defRPr b="1">
                <a:solidFill>
                  <a:schemeClr val="accent5"/>
                </a:solidFill>
              </a:defRPr>
            </a:lvl4pPr>
            <a:lvl5pPr marL="602262" indent="0">
              <a:buNone/>
              <a:defRPr b="1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DATE HE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67478"/>
            <a:ext cx="8952464" cy="1578420"/>
          </a:xfrm>
          <a:prstGeom prst="rect">
            <a:avLst/>
          </a:prstGeom>
        </p:spPr>
      </p:pic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75076" y="6444635"/>
            <a:ext cx="436090" cy="215444"/>
          </a:xfrm>
          <a:prstGeom prst="rect">
            <a:avLst/>
          </a:prstGeom>
        </p:spPr>
        <p:txBody>
          <a:bodyPr lIns="91407" tIns="45704" rIns="91407" bIns="45704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845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9.xml"/><Relationship Id="rId21" Type="http://schemas.openxmlformats.org/officeDocument/2006/relationships/oleObject" Target="../embeddings/oleObject27.bin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tags" Target="../tags/tag23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126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oleObject" Target="../embeddings/oleObject10.bin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5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oleObject" Target="../embeddings/oleObject13.bin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6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oleObject" Target="../embeddings/oleObject21.bin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9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image" Target="../media/image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oleObject" Target="../embeddings/oleObject24.bin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108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2298" y="274638"/>
            <a:ext cx="10945654" cy="1143000"/>
          </a:xfrm>
          <a:prstGeom prst="rect">
            <a:avLst/>
          </a:prstGeom>
        </p:spPr>
        <p:txBody>
          <a:bodyPr vert="horz" lIns="91201" tIns="45588" rIns="91201" bIns="45588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031" y="1414533"/>
            <a:ext cx="10945654" cy="4525963"/>
          </a:xfrm>
          <a:prstGeom prst="rect">
            <a:avLst/>
          </a:prstGeom>
        </p:spPr>
        <p:txBody>
          <a:bodyPr vert="horz" lIns="91201" tIns="45588" rIns="91201" bIns="4558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40" y="6606781"/>
            <a:ext cx="4155295" cy="221841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 dirty="0"/>
              <a:t>Fidelity Internal Information</a:t>
            </a: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-41945" y="6606777"/>
            <a:ext cx="1111340" cy="256298"/>
          </a:xfrm>
          <a:prstGeom prst="rect">
            <a:avLst/>
          </a:prstGeom>
        </p:spPr>
        <p:txBody>
          <a:bodyPr lIns="91201" tIns="45588" rIns="91201" bIns="45588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D8D8D8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D8D8D8">
                  <a:lumMod val="75000"/>
                </a:srgbClr>
              </a:solidFill>
            </a:endParaRPr>
          </a:p>
        </p:txBody>
      </p:sp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192" y="6395173"/>
            <a:ext cx="1733384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385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6" r:id="rId7"/>
    <p:sldLayoutId id="2147483687" r:id="rId8"/>
  </p:sldLayoutIdLst>
  <p:hf sldNum="0" hdr="0" dt="0"/>
  <p:txStyles>
    <p:titleStyle>
      <a:lvl1pPr algn="l" defTabSz="912026" rtl="0" eaLnBrk="1" latinLnBrk="0" hangingPunct="1">
        <a:spcBef>
          <a:spcPct val="0"/>
        </a:spcBef>
        <a:buNone/>
        <a:defRPr lang="en-US" sz="2400" b="0" kern="1200" dirty="0">
          <a:solidFill>
            <a:srgbClr val="005A8B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5924" indent="-23592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595959"/>
          </a:solidFill>
          <a:latin typeface="Fidelity Sans" pitchFamily="34" charset="0"/>
          <a:ea typeface="+mj-ea"/>
          <a:cs typeface="Arial" panose="020B0604020202020204" pitchFamily="34" charset="0"/>
        </a:defRPr>
      </a:lvl1pPr>
      <a:lvl2pPr marL="456012" indent="-22009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6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2pPr>
      <a:lvl3pPr marL="628604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3pPr>
      <a:lvl4pPr marL="801197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3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4pPr>
      <a:lvl5pPr marL="975372" indent="-174175" algn="l" defTabSz="912026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8077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104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119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6122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12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02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047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05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079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09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09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125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27" y="336218"/>
            <a:ext cx="11340101" cy="461633"/>
          </a:xfrm>
          <a:prstGeom prst="rect">
            <a:avLst/>
          </a:prstGeom>
        </p:spPr>
        <p:txBody>
          <a:bodyPr vert="horz" lIns="91407" tIns="45704" rIns="91407" bIns="45704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373" y="1141416"/>
            <a:ext cx="11354851" cy="5013325"/>
          </a:xfrm>
          <a:prstGeom prst="rect">
            <a:avLst/>
          </a:prstGeom>
        </p:spPr>
        <p:txBody>
          <a:bodyPr vert="horz" lIns="91407" tIns="45704" rIns="91407" bIns="45704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77578" y="6444638"/>
            <a:ext cx="1428077" cy="215187"/>
          </a:xfrm>
          <a:prstGeom prst="rect">
            <a:avLst/>
          </a:prstGeom>
          <a:noFill/>
        </p:spPr>
        <p:txBody>
          <a:bodyPr wrap="none" lIns="91183" tIns="45593" rIns="91183" bIns="45593" rtlCol="0">
            <a:spAutoFit/>
          </a:bodyPr>
          <a:lstStyle/>
          <a:p>
            <a:pPr defTabSz="911795"/>
            <a:r>
              <a:rPr lang="en-US" sz="80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Information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85" t="15713" r="24292" b="58094"/>
          <a:stretch/>
        </p:blipFill>
        <p:spPr>
          <a:xfrm>
            <a:off x="10147478" y="6116240"/>
            <a:ext cx="1903356" cy="716212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581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  <p:sldLayoutId id="2147483978" r:id="rId16"/>
    <p:sldLayoutId id="2147483979" r:id="rId17"/>
    <p:sldLayoutId id="2147483980" r:id="rId18"/>
  </p:sldLayoutIdLst>
  <p:hf hdr="0" ftr="0" dt="0"/>
  <p:txStyles>
    <p:titleStyle>
      <a:lvl1pPr algn="l" defTabSz="911795" rtl="0" eaLnBrk="1" latinLnBrk="0" hangingPunct="1">
        <a:lnSpc>
          <a:spcPct val="100000"/>
        </a:lnSpc>
        <a:spcBef>
          <a:spcPct val="0"/>
        </a:spcBef>
        <a:buClrTx/>
        <a:buNone/>
        <a:defRPr lang="en-US" sz="2400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5866" indent="-235866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455899" indent="-220034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9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8442" indent="-172545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6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0987" indent="-172545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5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75113" indent="-174127" algn="l" defTabSz="911795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7434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330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229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125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99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1795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589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86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381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278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177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2298" y="274638"/>
            <a:ext cx="10945654" cy="1143000"/>
          </a:xfrm>
          <a:prstGeom prst="rect">
            <a:avLst/>
          </a:prstGeom>
        </p:spPr>
        <p:txBody>
          <a:bodyPr vert="horz" lIns="91201" tIns="45588" rIns="91201" bIns="45588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031" y="1414533"/>
            <a:ext cx="10945654" cy="4525963"/>
          </a:xfrm>
          <a:prstGeom prst="rect">
            <a:avLst/>
          </a:prstGeom>
        </p:spPr>
        <p:txBody>
          <a:bodyPr vert="horz" lIns="91201" tIns="45588" rIns="91201" bIns="4558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37" y="6606773"/>
            <a:ext cx="4155295" cy="221841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 dirty="0"/>
              <a:t>Fidelity Internal Information</a:t>
            </a: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-41945" y="6606769"/>
            <a:ext cx="1111340" cy="256298"/>
          </a:xfrm>
          <a:prstGeom prst="rect">
            <a:avLst/>
          </a:prstGeom>
        </p:spPr>
        <p:txBody>
          <a:bodyPr lIns="91201" tIns="45588" rIns="91201" bIns="45588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D8D8D8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D8D8D8">
                  <a:lumMod val="75000"/>
                </a:srgbClr>
              </a:solidFill>
            </a:endParaRPr>
          </a:p>
        </p:txBody>
      </p:sp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191" y="6395173"/>
            <a:ext cx="1733384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1336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6" r:id="rId7"/>
    <p:sldLayoutId id="2147483697" r:id="rId8"/>
    <p:sldLayoutId id="2147483698" r:id="rId9"/>
  </p:sldLayoutIdLst>
  <p:hf sldNum="0" hdr="0" dt="0"/>
  <p:txStyles>
    <p:titleStyle>
      <a:lvl1pPr algn="l" defTabSz="912026" rtl="0" eaLnBrk="1" latinLnBrk="0" hangingPunct="1">
        <a:spcBef>
          <a:spcPct val="0"/>
        </a:spcBef>
        <a:buNone/>
        <a:defRPr lang="en-US" sz="2400" b="0" kern="1200" dirty="0">
          <a:solidFill>
            <a:srgbClr val="005A8B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5924" indent="-23592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595959"/>
          </a:solidFill>
          <a:latin typeface="Fidelity Sans" pitchFamily="34" charset="0"/>
          <a:ea typeface="+mj-ea"/>
          <a:cs typeface="Arial" panose="020B0604020202020204" pitchFamily="34" charset="0"/>
        </a:defRPr>
      </a:lvl1pPr>
      <a:lvl2pPr marL="456012" indent="-22009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6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2pPr>
      <a:lvl3pPr marL="628604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3pPr>
      <a:lvl4pPr marL="801197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3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4pPr>
      <a:lvl5pPr marL="975372" indent="-174175" algn="l" defTabSz="912026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8077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104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119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6122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12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02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047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05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079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09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09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125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2298" y="274638"/>
            <a:ext cx="10945654" cy="1143000"/>
          </a:xfrm>
          <a:prstGeom prst="rect">
            <a:avLst/>
          </a:prstGeom>
        </p:spPr>
        <p:txBody>
          <a:bodyPr vert="horz" lIns="91201" tIns="45588" rIns="91201" bIns="45588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031" y="1414533"/>
            <a:ext cx="10945654" cy="4525963"/>
          </a:xfrm>
          <a:prstGeom prst="rect">
            <a:avLst/>
          </a:prstGeom>
        </p:spPr>
        <p:txBody>
          <a:bodyPr vert="horz" lIns="91201" tIns="45588" rIns="91201" bIns="4558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33" y="6606768"/>
            <a:ext cx="4155295" cy="221841"/>
          </a:xfrm>
          <a:prstGeom prst="rect">
            <a:avLst/>
          </a:prstGeom>
        </p:spPr>
        <p:txBody>
          <a:bodyPr vert="horz" lIns="91201" tIns="45588" rIns="91201" bIns="45588" rtlCol="0" anchor="ctr">
            <a:noAutofit/>
          </a:bodyPr>
          <a:lstStyle>
            <a:lvl1pPr algn="ctr">
              <a:defRPr sz="80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 dirty="0"/>
              <a:t>Fidelity Internal Information</a:t>
            </a: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-41945" y="6606762"/>
            <a:ext cx="1111340" cy="256298"/>
          </a:xfrm>
          <a:prstGeom prst="rect">
            <a:avLst/>
          </a:prstGeom>
        </p:spPr>
        <p:txBody>
          <a:bodyPr lIns="91201" tIns="45588" rIns="91201" bIns="45588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D8D8D8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D8D8D8">
                  <a:lumMod val="75000"/>
                </a:srgbClr>
              </a:solidFill>
            </a:endParaRPr>
          </a:p>
        </p:txBody>
      </p:sp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187" y="6395173"/>
            <a:ext cx="1733384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34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7" r:id="rId7"/>
    <p:sldLayoutId id="2147483708" r:id="rId8"/>
    <p:sldLayoutId id="2147483709" r:id="rId9"/>
  </p:sldLayoutIdLst>
  <p:hf sldNum="0" hdr="0" dt="0"/>
  <p:txStyles>
    <p:titleStyle>
      <a:lvl1pPr algn="l" defTabSz="912026" rtl="0" eaLnBrk="1" latinLnBrk="0" hangingPunct="1">
        <a:spcBef>
          <a:spcPct val="0"/>
        </a:spcBef>
        <a:buNone/>
        <a:defRPr lang="en-US" sz="2400" b="0" kern="1200" dirty="0">
          <a:solidFill>
            <a:srgbClr val="005A8B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5924" indent="-23592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595959"/>
          </a:solidFill>
          <a:latin typeface="Fidelity Sans" pitchFamily="34" charset="0"/>
          <a:ea typeface="+mj-ea"/>
          <a:cs typeface="Arial" panose="020B0604020202020204" pitchFamily="34" charset="0"/>
        </a:defRPr>
      </a:lvl1pPr>
      <a:lvl2pPr marL="456012" indent="-22009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6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2pPr>
      <a:lvl3pPr marL="628604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3pPr>
      <a:lvl4pPr marL="801197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3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4pPr>
      <a:lvl5pPr marL="975372" indent="-174175" algn="l" defTabSz="912026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8077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104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119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6122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12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02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047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05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079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09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09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125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56" y="336234"/>
            <a:ext cx="11340101" cy="461398"/>
          </a:xfrm>
          <a:prstGeom prst="rect">
            <a:avLst/>
          </a:prstGeom>
        </p:spPr>
        <p:txBody>
          <a:bodyPr vert="horz" lIns="91201" tIns="45588" rIns="91201" bIns="45588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08" y="1141416"/>
            <a:ext cx="11354851" cy="5013325"/>
          </a:xfrm>
          <a:prstGeom prst="rect">
            <a:avLst/>
          </a:prstGeom>
        </p:spPr>
        <p:txBody>
          <a:bodyPr vert="horz" lIns="91201" tIns="45588" rIns="91201" bIns="4558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6266" y="6277932"/>
            <a:ext cx="1903356" cy="53715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77589" y="6444655"/>
            <a:ext cx="1428114" cy="215177"/>
          </a:xfrm>
          <a:prstGeom prst="rect">
            <a:avLst/>
          </a:prstGeom>
          <a:noFill/>
        </p:spPr>
        <p:txBody>
          <a:bodyPr wrap="none" lIns="91201" tIns="45588" rIns="91201" bIns="45588" rtlCol="0">
            <a:spAutoFit/>
          </a:bodyPr>
          <a:lstStyle/>
          <a:p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6825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</p:sldLayoutIdLst>
  <p:hf hdr="0" ftr="0" dt="0"/>
  <p:txStyles>
    <p:titleStyle>
      <a:lvl1pPr algn="l" defTabSz="912026" rtl="0" eaLnBrk="1" latinLnBrk="0" hangingPunct="1">
        <a:lnSpc>
          <a:spcPct val="100000"/>
        </a:lnSpc>
        <a:spcBef>
          <a:spcPct val="0"/>
        </a:spcBef>
        <a:buClrTx/>
        <a:buNone/>
        <a:defRPr lang="en-US" sz="2400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5924" indent="-23592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456012" indent="-220094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8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8604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6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1197" indent="-172593" algn="l" defTabSz="912026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4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75372" indent="-174175" algn="l" defTabSz="912026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8077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104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119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6122" indent="-228009" algn="l" defTabSz="9120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012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02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047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05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079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096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098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8125" algn="l" defTabSz="9120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75071710"/>
              </p:ext>
            </p:extLst>
          </p:nvPr>
        </p:nvGraphicFramePr>
        <p:xfrm>
          <a:off x="1592" y="1610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2" y="1610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59" y="336234"/>
            <a:ext cx="11340101" cy="461398"/>
          </a:xfrm>
          <a:prstGeom prst="rect">
            <a:avLst/>
          </a:prstGeom>
        </p:spPr>
        <p:txBody>
          <a:bodyPr vert="horz" lIns="91194" tIns="45588" rIns="91194" bIns="45588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08" y="1141424"/>
            <a:ext cx="11354851" cy="5013325"/>
          </a:xfrm>
          <a:prstGeom prst="rect">
            <a:avLst/>
          </a:prstGeom>
        </p:spPr>
        <p:txBody>
          <a:bodyPr vert="horz" lIns="91194" tIns="45588" rIns="91194" bIns="4558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7597" y="6444657"/>
            <a:ext cx="1428099" cy="215177"/>
          </a:xfrm>
          <a:prstGeom prst="rect">
            <a:avLst/>
          </a:prstGeom>
          <a:noFill/>
        </p:spPr>
        <p:txBody>
          <a:bodyPr wrap="none" lIns="91194" tIns="45588" rIns="91194" bIns="45588" rtlCol="0">
            <a:spAutoFit/>
          </a:bodyPr>
          <a:lstStyle/>
          <a:p>
            <a:pPr defTabSz="911958"/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Inform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85" t="15713" r="24292" b="58094"/>
          <a:stretch/>
        </p:blipFill>
        <p:spPr>
          <a:xfrm>
            <a:off x="10147482" y="6116245"/>
            <a:ext cx="1903356" cy="716213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084" y="6444639"/>
            <a:ext cx="436090" cy="215444"/>
          </a:xfrm>
          <a:prstGeom prst="rect">
            <a:avLst/>
          </a:prstGeom>
        </p:spPr>
        <p:txBody>
          <a:bodyPr lIns="91183" tIns="45578" rIns="91183" bIns="45578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defTabSz="911847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847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34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9" r:id="rId16"/>
    <p:sldLayoutId id="2147483770" r:id="rId17"/>
    <p:sldLayoutId id="2147483771" r:id="rId18"/>
  </p:sldLayoutIdLst>
  <p:hf hdr="0" ftr="0" dt="0"/>
  <p:txStyles>
    <p:titleStyle>
      <a:lvl1pPr algn="l" defTabSz="911958" rtl="0" eaLnBrk="1" latinLnBrk="0" hangingPunct="1">
        <a:lnSpc>
          <a:spcPct val="100000"/>
        </a:lnSpc>
        <a:spcBef>
          <a:spcPct val="0"/>
        </a:spcBef>
        <a:buClrTx/>
        <a:buNone/>
        <a:defRPr lang="en-US" sz="2400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5909" indent="-235909" algn="l" defTabSz="911958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455980" indent="-220077" algn="l" defTabSz="911958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8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8558" indent="-172579" algn="l" defTabSz="911958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6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1139" indent="-172579" algn="l" defTabSz="911958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5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75306" indent="-174164" algn="l" defTabSz="911958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7892" indent="-227990" algn="l" defTabSz="91195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880" indent="-227990" algn="l" defTabSz="91195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863" indent="-227990" algn="l" defTabSz="91195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831" indent="-227990" algn="l" defTabSz="91195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80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58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46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26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07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889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861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854" algn="l" defTabSz="9119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37672535"/>
              </p:ext>
            </p:extLst>
          </p:nvPr>
        </p:nvGraphicFramePr>
        <p:xfrm>
          <a:off x="2119" y="1610"/>
          <a:ext cx="21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610"/>
                        <a:ext cx="210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21" y="336244"/>
            <a:ext cx="10945654" cy="806789"/>
          </a:xfrm>
          <a:prstGeom prst="rect">
            <a:avLst/>
          </a:prstGeom>
        </p:spPr>
        <p:txBody>
          <a:bodyPr vert="horz" lIns="111432" tIns="55717" rIns="111432" bIns="55717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374" y="1143004"/>
            <a:ext cx="10944611" cy="4859034"/>
          </a:xfrm>
          <a:prstGeom prst="rect">
            <a:avLst/>
          </a:prstGeom>
        </p:spPr>
        <p:txBody>
          <a:bodyPr vert="horz" lIns="111432" tIns="55717" rIns="111432" bIns="5571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-6294" y="6448532"/>
            <a:ext cx="779117" cy="378809"/>
          </a:xfrm>
          <a:prstGeom prst="rect">
            <a:avLst/>
          </a:prstGeom>
        </p:spPr>
        <p:txBody>
          <a:bodyPr lIns="87405" tIns="43701" rIns="87405" bIns="43701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2605" y="6448500"/>
            <a:ext cx="1733033" cy="180589"/>
          </a:xfrm>
          <a:prstGeom prst="rect">
            <a:avLst/>
          </a:prstGeom>
        </p:spPr>
        <p:txBody>
          <a:bodyPr wrap="none" lIns="87405" tIns="43701" rIns="87405" bIns="43701">
            <a:spAutoFit/>
          </a:bodyPr>
          <a:lstStyle/>
          <a:p>
            <a:pPr defTabSz="874060">
              <a:defRPr/>
            </a:pPr>
            <a:r>
              <a:rPr lang="en-US" sz="6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</a:t>
            </a:r>
            <a:r>
              <a:rPr lang="en-US" sz="600" dirty="0" err="1">
                <a:solidFill>
                  <a:srgbClr val="000000">
                    <a:lumMod val="50000"/>
                    <a:lumOff val="50000"/>
                  </a:srgbClr>
                </a:solidFill>
              </a:rPr>
              <a:t>INFORMATInvestOneN</a:t>
            </a:r>
            <a:endParaRPr lang="en-US" sz="6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278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</p:sldLayoutIdLst>
  <p:hf sldNum="0" hdr="0" dt="0"/>
  <p:txStyles>
    <p:titleStyle>
      <a:lvl1pPr algn="l" defTabSz="874060" rtl="0" eaLnBrk="1" latinLnBrk="0" hangingPunct="1">
        <a:lnSpc>
          <a:spcPts val="2874"/>
        </a:lnSpc>
        <a:spcBef>
          <a:spcPct val="0"/>
        </a:spcBef>
        <a:buClrTx/>
        <a:buNone/>
        <a:defRPr lang="en-US" sz="2400" b="0" kern="1200" dirty="0">
          <a:solidFill>
            <a:srgbClr val="4D4D4D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874060" rtl="0" eaLnBrk="1" latinLnBrk="0" hangingPunct="1">
        <a:spcBef>
          <a:spcPct val="20000"/>
        </a:spcBef>
        <a:buClrTx/>
        <a:buFont typeface="Arial" panose="020B0604020202020204" pitchFamily="34" charset="0"/>
        <a:buNone/>
        <a:defRPr lang="en-US" sz="1600" b="0" kern="1200" dirty="0" smtClean="0">
          <a:solidFill>
            <a:srgbClr val="3F9835"/>
          </a:solidFill>
          <a:latin typeface="+mj-lt"/>
          <a:ea typeface="+mj-ea"/>
          <a:cs typeface="Arial" panose="020B0604020202020204" pitchFamily="34" charset="0"/>
        </a:defRPr>
      </a:lvl1pPr>
      <a:lvl2pPr marL="437029" indent="-210931" algn="l" defTabSz="874060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500" kern="1200">
          <a:solidFill>
            <a:srgbClr val="4D4D4D"/>
          </a:solidFill>
          <a:latin typeface="+mj-lt"/>
          <a:ea typeface="+mn-ea"/>
          <a:cs typeface="Arial" panose="020B0604020202020204" pitchFamily="34" charset="0"/>
        </a:defRPr>
      </a:lvl2pPr>
      <a:lvl3pPr marL="602436" indent="-165407" algn="l" defTabSz="874060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300" kern="1200">
          <a:solidFill>
            <a:srgbClr val="4D4D4D"/>
          </a:solidFill>
          <a:latin typeface="+mj-lt"/>
          <a:ea typeface="+mn-ea"/>
          <a:cs typeface="Arial" panose="020B0604020202020204" pitchFamily="34" charset="0"/>
        </a:defRPr>
      </a:lvl3pPr>
      <a:lvl4pPr marL="767840" indent="-165407" algn="l" defTabSz="874060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100" kern="1200">
          <a:solidFill>
            <a:srgbClr val="4D4D4D"/>
          </a:solidFill>
          <a:latin typeface="+mj-lt"/>
          <a:ea typeface="+mn-ea"/>
          <a:cs typeface="Arial" panose="020B0604020202020204" pitchFamily="34" charset="0"/>
        </a:defRPr>
      </a:lvl4pPr>
      <a:lvl5pPr marL="934748" indent="-166925" algn="l" defTabSz="874060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03663" indent="-218515" algn="l" defTabSz="87406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0703" indent="-218515" algn="l" defTabSz="87406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7726" indent="-218515" algn="l" defTabSz="87406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14752" indent="-218515" algn="l" defTabSz="87406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37029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74060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11087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48121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85149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22179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59213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96240" algn="l" defTabSz="87406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2298" y="274638"/>
            <a:ext cx="10945654" cy="1143000"/>
          </a:xfrm>
          <a:prstGeom prst="rect">
            <a:avLst/>
          </a:prstGeom>
        </p:spPr>
        <p:txBody>
          <a:bodyPr vert="horz" lIns="91414" tIns="45708" rIns="91414" bIns="45708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031" y="1414499"/>
            <a:ext cx="10945654" cy="4525963"/>
          </a:xfrm>
          <a:prstGeom prst="rect">
            <a:avLst/>
          </a:prstGeom>
        </p:spPr>
        <p:txBody>
          <a:bodyPr vert="horz" lIns="91414" tIns="45708" rIns="91414" bIns="4570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3861728" y="6606757"/>
            <a:ext cx="4155295" cy="221841"/>
          </a:xfrm>
          <a:prstGeom prst="rect">
            <a:avLst/>
          </a:prstGeom>
        </p:spPr>
        <p:txBody>
          <a:bodyPr vert="horz" lIns="91414" tIns="45708" rIns="91414" bIns="45708" rtlCol="0" anchor="ctr">
            <a:noAutofit/>
          </a:bodyPr>
          <a:lstStyle>
            <a:lvl1pPr algn="ctr">
              <a:defRPr sz="800">
                <a:solidFill>
                  <a:srgbClr val="7F7F7F"/>
                </a:solidFill>
                <a:latin typeface="+mn-lt"/>
              </a:defRPr>
            </a:lvl1pPr>
          </a:lstStyle>
          <a:p>
            <a:pPr defTabSz="911863"/>
            <a:r>
              <a:rPr lang="en-US"/>
              <a:t>Fidelity Internal Informatio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-41947" y="6606757"/>
            <a:ext cx="1111340" cy="256297"/>
          </a:xfrm>
          <a:prstGeom prst="rect">
            <a:avLst/>
          </a:prstGeom>
        </p:spPr>
        <p:txBody>
          <a:bodyPr lIns="91414" tIns="45708" rIns="91414" bIns="45708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3E142A-3C00-4127-85D6-84DE39FD85BE}" type="slidenum">
              <a:rPr lang="en-US" sz="800" smtClean="0">
                <a:solidFill>
                  <a:srgbClr val="D8D8D8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D8D8D8">
                  <a:lumMod val="75000"/>
                </a:srgbClr>
              </a:solidFill>
            </a:endParaRPr>
          </a:p>
        </p:txBody>
      </p:sp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1181" y="6395148"/>
            <a:ext cx="1733384" cy="3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008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</p:sldLayoutIdLst>
  <p:hf sldNum="0" hdr="0" dt="0"/>
  <p:txStyles>
    <p:titleStyle>
      <a:lvl1pPr algn="l" defTabSz="911863" rtl="0" eaLnBrk="1" latinLnBrk="0" hangingPunct="1">
        <a:spcBef>
          <a:spcPct val="0"/>
        </a:spcBef>
        <a:buNone/>
        <a:defRPr lang="en-US" sz="2400" b="0" kern="1200" dirty="0">
          <a:solidFill>
            <a:srgbClr val="005A8B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5882" indent="-235882" algn="l" defTabSz="911863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595959"/>
          </a:solidFill>
          <a:latin typeface="Fidelity Sans" pitchFamily="34" charset="0"/>
          <a:ea typeface="+mj-ea"/>
          <a:cs typeface="Arial" panose="020B0604020202020204" pitchFamily="34" charset="0"/>
        </a:defRPr>
      </a:lvl1pPr>
      <a:lvl2pPr marL="455930" indent="-220050" algn="l" defTabSz="911863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6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2pPr>
      <a:lvl3pPr marL="628489" indent="-172558" algn="l" defTabSz="911863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4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3pPr>
      <a:lvl4pPr marL="801046" indent="-172558" algn="l" defTabSz="911863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100" b="0" kern="1200">
          <a:solidFill>
            <a:srgbClr val="595959"/>
          </a:solidFill>
          <a:latin typeface="Fidelity Sans" pitchFamily="34" charset="0"/>
          <a:ea typeface="+mn-ea"/>
          <a:cs typeface="Arial" panose="020B0604020202020204" pitchFamily="34" charset="0"/>
        </a:defRPr>
      </a:lvl4pPr>
      <a:lvl5pPr marL="975186" indent="-174141" algn="l" defTabSz="911863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7621" indent="-227967" algn="l" defTabSz="911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553" indent="-227967" algn="l" defTabSz="911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482" indent="-227967" algn="l" defTabSz="911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415" indent="-227967" algn="l" defTabSz="9118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30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63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93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24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54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585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16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48" algn="l" defTabSz="911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5" y="159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5" y="1593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27" y="336218"/>
            <a:ext cx="11340101" cy="461633"/>
          </a:xfrm>
          <a:prstGeom prst="rect">
            <a:avLst/>
          </a:prstGeom>
        </p:spPr>
        <p:txBody>
          <a:bodyPr vert="horz" lIns="91407" tIns="45704" rIns="91407" bIns="45704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373" y="1141416"/>
            <a:ext cx="11354851" cy="5013325"/>
          </a:xfrm>
          <a:prstGeom prst="rect">
            <a:avLst/>
          </a:prstGeom>
        </p:spPr>
        <p:txBody>
          <a:bodyPr vert="horz" lIns="91407" tIns="45704" rIns="91407" bIns="4570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7578" y="6444638"/>
            <a:ext cx="1428077" cy="215187"/>
          </a:xfrm>
          <a:prstGeom prst="rect">
            <a:avLst/>
          </a:prstGeom>
          <a:noFill/>
        </p:spPr>
        <p:txBody>
          <a:bodyPr wrap="none" lIns="91183" tIns="45593" rIns="91183" bIns="45593" rtlCol="0">
            <a:spAutoFit/>
          </a:bodyPr>
          <a:lstStyle/>
          <a:p>
            <a:pPr defTabSz="911795"/>
            <a:r>
              <a:rPr 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Inform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85" t="15713" r="24292" b="58094"/>
          <a:stretch/>
        </p:blipFill>
        <p:spPr>
          <a:xfrm>
            <a:off x="10147478" y="6116240"/>
            <a:ext cx="1903356" cy="716212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40" r:id="rId16"/>
    <p:sldLayoutId id="2147483941" r:id="rId17"/>
    <p:sldLayoutId id="2147483942" r:id="rId18"/>
  </p:sldLayoutIdLst>
  <p:hf hdr="0" ftr="0" dt="0"/>
  <p:txStyles>
    <p:titleStyle>
      <a:lvl1pPr algn="l" defTabSz="911795" rtl="0" eaLnBrk="1" latinLnBrk="0" hangingPunct="1">
        <a:lnSpc>
          <a:spcPct val="100000"/>
        </a:lnSpc>
        <a:spcBef>
          <a:spcPct val="0"/>
        </a:spcBef>
        <a:buClrTx/>
        <a:buNone/>
        <a:defRPr lang="en-US" sz="2400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5866" indent="-235866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2000" b="0" kern="1200" dirty="0" smtClean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455899" indent="-220034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9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8442" indent="-172545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6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0987" indent="-172545" algn="l" defTabSz="911795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500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75113" indent="-174127" algn="l" defTabSz="911795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07434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330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229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125" indent="-227951" algn="l" defTabSz="9117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99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1795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690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589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486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381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278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177" algn="l" defTabSz="91179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5" y="1595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5" y="1595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28" y="336220"/>
            <a:ext cx="11340101" cy="370069"/>
          </a:xfrm>
          <a:prstGeom prst="rect">
            <a:avLst/>
          </a:prstGeom>
        </p:spPr>
        <p:txBody>
          <a:bodyPr vert="horz" lIns="91407" tIns="45704" rIns="91407" bIns="45704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374" y="1141416"/>
            <a:ext cx="11354851" cy="5013325"/>
          </a:xfrm>
          <a:prstGeom prst="rect">
            <a:avLst/>
          </a:prstGeom>
        </p:spPr>
        <p:txBody>
          <a:bodyPr vert="horz" lIns="91407" tIns="45704" rIns="91407" bIns="45704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77578" y="6444639"/>
            <a:ext cx="1069798" cy="161884"/>
          </a:xfrm>
          <a:prstGeom prst="rect">
            <a:avLst/>
          </a:prstGeom>
          <a:noFill/>
        </p:spPr>
        <p:txBody>
          <a:bodyPr wrap="none" lIns="68557" tIns="34280" rIns="68557" bIns="34280" rtlCol="0">
            <a:spAutoFit/>
          </a:bodyPr>
          <a:lstStyle/>
          <a:p>
            <a:pPr defTabSz="685579"/>
            <a:r>
              <a:rPr lang="en-US" sz="602" dirty="0">
                <a:solidFill>
                  <a:srgbClr val="000000">
                    <a:lumMod val="50000"/>
                    <a:lumOff val="50000"/>
                  </a:srgbClr>
                </a:solidFill>
              </a:rPr>
              <a:t>Fidelity Internal Information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85" t="15713" r="24292" b="58094"/>
          <a:stretch/>
        </p:blipFill>
        <p:spPr>
          <a:xfrm>
            <a:off x="10147478" y="6116240"/>
            <a:ext cx="1903356" cy="716212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076" y="6444638"/>
            <a:ext cx="436090" cy="215444"/>
          </a:xfrm>
          <a:prstGeom prst="rect">
            <a:avLst/>
          </a:prstGeom>
        </p:spPr>
        <p:txBody>
          <a:bodyPr lIns="91397" tIns="45699" rIns="91397" bIns="45699" anchor="ctr">
            <a:noAutofit/>
          </a:bodyPr>
          <a:lstStyle>
            <a:lvl1pPr algn="l">
              <a:defRPr sz="602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defTabSz="685495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685495">
                <a:defRPr/>
              </a:pPr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2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</p:sldLayoutIdLst>
  <p:hf hdr="0" ftr="0" dt="0"/>
  <p:txStyles>
    <p:titleStyle>
      <a:lvl1pPr algn="l" defTabSz="685579" rtl="0" eaLnBrk="1" latinLnBrk="0" hangingPunct="1">
        <a:lnSpc>
          <a:spcPct val="100000"/>
        </a:lnSpc>
        <a:spcBef>
          <a:spcPct val="0"/>
        </a:spcBef>
        <a:buClrTx/>
        <a:buNone/>
        <a:defRPr lang="en-US" sz="1805" b="1" kern="1200" dirty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7348" indent="-177348" algn="l" defTabSz="685579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lang="en-US" sz="1504" b="0" kern="1200" dirty="0" smtClean="0">
          <a:solidFill>
            <a:srgbClr val="4D4D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342790" indent="-165444" algn="l" defTabSz="685579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429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72526" indent="-129737" algn="l" defTabSz="685579" rtl="0" eaLnBrk="1" latinLnBrk="0" hangingPunct="1">
        <a:spcBef>
          <a:spcPct val="20000"/>
        </a:spcBef>
        <a:buClrTx/>
        <a:buFont typeface="Arial" panose="020B0604020202020204" pitchFamily="34" charset="0"/>
        <a:buChar char="•"/>
        <a:defRPr sz="1203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02262" indent="-129737" algn="l" defTabSz="685579" rtl="0" eaLnBrk="1" latinLnBrk="0" hangingPunct="1">
        <a:spcBef>
          <a:spcPct val="20000"/>
        </a:spcBef>
        <a:buClrTx/>
        <a:buFont typeface="Arial" panose="020B0604020202020204" pitchFamily="34" charset="0"/>
        <a:buChar char="–"/>
        <a:defRPr sz="1128" kern="1200">
          <a:solidFill>
            <a:srgbClr val="4D4D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33187" indent="-130926" algn="l" defTabSz="685579" rtl="0" eaLnBrk="1" latinLnBrk="0" hangingPunct="1">
        <a:spcBef>
          <a:spcPct val="20000"/>
        </a:spcBef>
        <a:buFont typeface="Arial" panose="020B0604020202020204" pitchFamily="34" charset="0"/>
        <a:buChar char="»"/>
        <a:defRPr sz="112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340" indent="-171396" algn="l" defTabSz="68557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4" kern="1200">
          <a:solidFill>
            <a:schemeClr val="tx1"/>
          </a:solidFill>
          <a:latin typeface="+mn-lt"/>
          <a:ea typeface="+mn-ea"/>
          <a:cs typeface="+mn-cs"/>
        </a:defRPr>
      </a:lvl6pPr>
      <a:lvl7pPr marL="2228128" indent="-171396" algn="l" defTabSz="68557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4" kern="1200">
          <a:solidFill>
            <a:schemeClr val="tx1"/>
          </a:solidFill>
          <a:latin typeface="+mn-lt"/>
          <a:ea typeface="+mn-ea"/>
          <a:cs typeface="+mn-cs"/>
        </a:defRPr>
      </a:lvl7pPr>
      <a:lvl8pPr marL="2570918" indent="-171396" algn="l" defTabSz="68557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4" kern="1200">
          <a:solidFill>
            <a:schemeClr val="tx1"/>
          </a:solidFill>
          <a:latin typeface="+mn-lt"/>
          <a:ea typeface="+mn-ea"/>
          <a:cs typeface="+mn-cs"/>
        </a:defRPr>
      </a:lvl8pPr>
      <a:lvl9pPr marL="2913706" indent="-171396" algn="l" defTabSz="68557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0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2pPr>
      <a:lvl3pPr marL="685579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66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57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46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33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22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12" algn="l" defTabSz="685579" rtl="0" eaLnBrk="1" latinLnBrk="0" hangingPunct="1"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9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87053" y="195378"/>
            <a:ext cx="11336116" cy="707844"/>
          </a:xfrm>
        </p:spPr>
        <p:txBody>
          <a:bodyPr/>
          <a:lstStyle/>
          <a:p>
            <a:r>
              <a:rPr lang="en-US" dirty="0">
                <a:latin typeface="Fidelity Sans" pitchFamily="34" charset="0"/>
              </a:rPr>
              <a:t>Solution Intent Review: APEX-Transactions Application (NAV product)</a:t>
            </a:r>
            <a:br>
              <a:rPr lang="en-US" dirty="0">
                <a:latin typeface="Fidelity Sans" pitchFamily="34" charset="0"/>
              </a:rPr>
            </a:br>
            <a:r>
              <a:rPr lang="en-US" sz="1600" b="0" dirty="0">
                <a:latin typeface="Fidelity Sans" pitchFamily="34" charset="0"/>
              </a:rPr>
              <a:t>General Inform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324624"/>
              </p:ext>
            </p:extLst>
          </p:nvPr>
        </p:nvGraphicFramePr>
        <p:xfrm>
          <a:off x="409317" y="1010846"/>
          <a:ext cx="11081803" cy="484131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82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41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148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0274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Fidelity Sans" pitchFamily="34" charset="0"/>
                        </a:rPr>
                        <a:t>Attrib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Fidelity Sans" pitchFamily="34" charset="0"/>
                        </a:rPr>
                        <a:t>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Fidelity Sans" pitchFamily="34" charset="0"/>
                        </a:rPr>
                        <a:t>No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086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Business Unit/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/>
                      <a:r>
                        <a:rPr lang="en-US" sz="1100" dirty="0">
                          <a:latin typeface="Fidelity Sans Lt" pitchFamily="34" charset="0"/>
                        </a:rPr>
                        <a:t>FF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EC4-394</a:t>
                      </a:r>
                      <a:endParaRPr lang="en-US" sz="1100" dirty="0">
                        <a:highlight>
                          <a:srgbClr val="FFFF00"/>
                        </a:highlight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SNOW Application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Fidelity Sans Lt" pitchFamily="34" charset="0"/>
                        </a:rPr>
                        <a:t>AP11803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PR000325 - NAV Tribe</a:t>
                      </a:r>
                    </a:p>
                    <a:p>
                      <a:r>
                        <a:rPr lang="en-US" sz="1100" dirty="0">
                          <a:latin typeface="Fidelity Sans" pitchFamily="34" charset="0"/>
                        </a:rPr>
                        <a:t>PL000193 - Fund Operations Dom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Solution Archit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/>
                      <a:r>
                        <a:rPr lang="en-US" sz="1100" dirty="0">
                          <a:latin typeface="Fidelity Sans Lt" pitchFamily="34" charset="0"/>
                        </a:rPr>
                        <a:t>Surekha Koya </a:t>
                      </a:r>
                      <a:r>
                        <a:rPr lang="en-US" sz="1100" baseline="0" dirty="0">
                          <a:latin typeface="Fidelity Sans Lt" pitchFamily="34" charset="0"/>
                        </a:rPr>
                        <a:t>(A468626)</a:t>
                      </a:r>
                      <a:endParaRPr lang="en-US" sz="1100" dirty="0">
                        <a:latin typeface="Fidelity Sans Lt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6864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Target Cloud Plat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/>
                      <a:r>
                        <a:rPr lang="en-US" sz="1100" dirty="0">
                          <a:latin typeface="Fidelity Sans Lt" pitchFamily="34" charset="0"/>
                        </a:rPr>
                        <a:t>A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Cloud Account Us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latin typeface="Fidelity Sans Lt" pitchFamily="34" charset="0"/>
                        </a:rPr>
                        <a:t>FFIO EKS (Dev, QA, Production)</a:t>
                      </a:r>
                    </a:p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latin typeface="Fidelity Sans Lt" pitchFamily="34" charset="0"/>
                        </a:rPr>
                        <a:t>FFIO FO AWS account ( Dev, QA, Produc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0926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Data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Fidelity Sans Lt" pitchFamily="34" charset="0"/>
                        </a:rPr>
                        <a:t>RDS (Oracle</a:t>
                      </a:r>
                      <a:r>
                        <a:rPr lang="en-US" sz="1100" baseline="0" dirty="0">
                          <a:latin typeface="Fidelity Sans Lt" pitchFamily="34" charset="0"/>
                        </a:rPr>
                        <a:t> DB)</a:t>
                      </a:r>
                    </a:p>
                    <a:p>
                      <a:pPr marL="182880" marR="0" indent="-171450" algn="l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latin typeface="Fidelity Sans Lt" pitchFamily="34" charset="0"/>
                        </a:rPr>
                        <a:t>Encryption at rest via KMS (Fidelity Managed Key)</a:t>
                      </a:r>
                    </a:p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Fidelity Sans Lt" pitchFamily="34" charset="0"/>
                        </a:rPr>
                        <a:t>SSL</a:t>
                      </a:r>
                      <a:r>
                        <a:rPr lang="en-US" sz="1100" baseline="0" dirty="0">
                          <a:latin typeface="Fidelity Sans Lt" pitchFamily="34" charset="0"/>
                        </a:rPr>
                        <a:t> in transit</a:t>
                      </a:r>
                      <a:endParaRPr lang="en-US" sz="1100" dirty="0">
                        <a:latin typeface="Fidelity Sans Lt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0041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Fidelity Sans" pitchFamily="34" charset="0"/>
                        </a:rPr>
                        <a:t>Required Cloud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latin typeface="Fidelity Sans Lt" pitchFamily="34" charset="0"/>
                        </a:rPr>
                        <a:t>EKS</a:t>
                      </a:r>
                    </a:p>
                    <a:p>
                      <a:pPr marL="182880" marR="0" indent="-171450" algn="l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latin typeface="Fidelity Sans Lt" pitchFamily="34" charset="0"/>
                        </a:rPr>
                        <a:t>RDS (Oracle DB</a:t>
                      </a:r>
                      <a:r>
                        <a:rPr lang="en-US" sz="1100" baseline="0" dirty="0">
                          <a:latin typeface="Fidelity Sans Lt" pitchFamily="34" charset="0"/>
                        </a:rPr>
                        <a:t>)</a:t>
                      </a:r>
                      <a:endParaRPr lang="en-US" sz="1100" dirty="0">
                        <a:latin typeface="Fidelity Sans Lt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7445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Fidelity Sans" pitchFamily="34" charset="0"/>
                        </a:rPr>
                        <a:t>Cloud Patterns U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baseline="0" dirty="0">
                          <a:latin typeface="Fidelity Sans Lt" pitchFamily="34" charset="0"/>
                        </a:rPr>
                        <a:t>Content Management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Cloud Data Archive</a:t>
                      </a:r>
                    </a:p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latin typeface="Fidelity Sans Lt" pitchFamily="34" charset="0"/>
                        </a:rPr>
                        <a:t>Web Application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Web Service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Batch Application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Event Driven Application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Data Analytics Application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Legacy Application</a:t>
                      </a:r>
                    </a:p>
                    <a:p>
                      <a:pPr marL="18288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latin typeface="Fidelity Sans Lt" pitchFamily="34" charset="0"/>
                        </a:rPr>
                        <a:t>Cloud Hosted Database</a:t>
                      </a:r>
                    </a:p>
                    <a:p>
                      <a:pPr marL="182880" indent="-171450" algn="l" defTabSz="911795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sngStrike" kern="1200" baseline="0" dirty="0">
                          <a:solidFill>
                            <a:schemeClr val="dk1"/>
                          </a:solidFill>
                          <a:latin typeface="Fidelity Sans Lt" pitchFamily="34" charset="0"/>
                          <a:ea typeface="+mn-ea"/>
                          <a:cs typeface="+mn-cs"/>
                        </a:rPr>
                        <a:t>Hosted Virtual Desk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dirty="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9987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287053" y="195378"/>
            <a:ext cx="11336116" cy="738621"/>
          </a:xfrm>
        </p:spPr>
        <p:txBody>
          <a:bodyPr/>
          <a:lstStyle/>
          <a:p>
            <a:r>
              <a:rPr lang="en-US" dirty="0">
                <a:latin typeface="Fidelity Sans" pitchFamily="34" charset="0"/>
              </a:rPr>
              <a:t>Solution Intent Review: APEX Transactions</a:t>
            </a:r>
            <a:br>
              <a:rPr lang="en-US" dirty="0">
                <a:latin typeface="Fidelity Sans" pitchFamily="34" charset="0"/>
              </a:rPr>
            </a:br>
            <a:r>
              <a:rPr lang="en-US" sz="1800" b="0" dirty="0">
                <a:latin typeface="Fidelity Sans" pitchFamily="34" charset="0"/>
              </a:rPr>
              <a:t>Architecture Diagram</a:t>
            </a:r>
            <a:endParaRPr lang="en-US" sz="1600" b="0" dirty="0">
              <a:latin typeface="Fidelity Sans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F53398-E691-40FF-83EB-66EFD5F96966}"/>
              </a:ext>
            </a:extLst>
          </p:cNvPr>
          <p:cNvSpPr txBox="1"/>
          <p:nvPr/>
        </p:nvSpPr>
        <p:spPr>
          <a:xfrm>
            <a:off x="8519319" y="2201127"/>
            <a:ext cx="3103850" cy="3285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PC peering is needed cross reg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DAO Service is the only service that talks to Database - needs JDBC connec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DR orchestration needs to be fine tuned with testing different scenario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B87F86-3071-4596-808A-D7E1DE6CE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4319" y="647700"/>
            <a:ext cx="4832989" cy="556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077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>
            <a:extLst>
              <a:ext uri="{FF2B5EF4-FFF2-40B4-BE49-F238E27FC236}">
                <a16:creationId xmlns:a16="http://schemas.microsoft.com/office/drawing/2014/main" id="{0B4B14CF-81AE-46C0-868A-339131DF3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19" y="228600"/>
            <a:ext cx="9296400" cy="461622"/>
          </a:xfrm>
        </p:spPr>
        <p:txBody>
          <a:bodyPr/>
          <a:lstStyle/>
          <a:p>
            <a:r>
              <a:rPr lang="en-US" b="0">
                <a:latin typeface="Fidelity Sans" pitchFamily="34" charset="0"/>
              </a:rPr>
              <a:t>Environment &amp; Capacity Requirements</a:t>
            </a:r>
            <a:endParaRPr lang="en-US" sz="1600" b="0">
              <a:latin typeface="Fidelity Sans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FD3421-0551-42FC-9346-0F5D6C17EE39}"/>
              </a:ext>
            </a:extLst>
          </p:cNvPr>
          <p:cNvSpPr txBox="1"/>
          <p:nvPr/>
        </p:nvSpPr>
        <p:spPr>
          <a:xfrm>
            <a:off x="135818" y="1033122"/>
            <a:ext cx="3851593" cy="381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20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delity Sans" panose="020B0503030202020204" pitchFamily="34" charset="0"/>
                <a:ea typeface="+mn-ea"/>
                <a:cs typeface="+mn-cs"/>
              </a:rPr>
              <a:t>Environment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delity Sans" panose="020B050303020202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9D0EFA6-7391-4C01-8101-F3C91A428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813822"/>
              </p:ext>
            </p:extLst>
          </p:nvPr>
        </p:nvGraphicFramePr>
        <p:xfrm>
          <a:off x="213519" y="1280160"/>
          <a:ext cx="5662102" cy="1463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04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1298">
                <a:tc>
                  <a:txBody>
                    <a:bodyPr/>
                    <a:lstStyle/>
                    <a:p>
                      <a:r>
                        <a:rPr lang="en-US" sz="1000" b="1">
                          <a:latin typeface="Fidelity Sans" pitchFamily="34" charset="0"/>
                        </a:rPr>
                        <a:t>Environ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latin typeface="Fidelity Sans" pitchFamily="34" charset="0"/>
                        </a:rPr>
                        <a:t>us-east-1 (Virgini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latin typeface="Fidelity Sans" pitchFamily="34" charset="0"/>
                        </a:rPr>
                        <a:t>us-east-2 (Ohio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>
                          <a:latin typeface="Fidelity Sans" pitchFamily="34" charset="0"/>
                        </a:rPr>
                        <a:t>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>
                          <a:latin typeface="Fidelity Sans" pitchFamily="34" charset="0"/>
                        </a:rPr>
                        <a:t>S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latin typeface="Fidelity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Fidelity Sans" pitchFamily="34" charset="0"/>
                        </a:rPr>
                        <a:t>UAT/Per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i="0" dirty="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Fidelity Sans" pitchFamily="34" charset="0"/>
                        </a:rPr>
                        <a:t>UAT/Prod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1000">
                        <a:latin typeface="Fidelity Sans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i="0" dirty="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1298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Fidelity Sans" pitchFamily="34" charset="0"/>
                        </a:rPr>
                        <a:t>Pro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000" dirty="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i="0" dirty="0">
                          <a:latin typeface="Fidelity Sans" pitchFamily="34" charset="0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157421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BD02D3C-4124-4E8E-B276-BDC1D6042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851085"/>
              </p:ext>
            </p:extLst>
          </p:nvPr>
        </p:nvGraphicFramePr>
        <p:xfrm>
          <a:off x="213519" y="3276600"/>
          <a:ext cx="7406640" cy="2560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40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57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55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997495066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3453564131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3417598783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175674247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1039767388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2823348930"/>
                    </a:ext>
                  </a:extLst>
                </a:gridCol>
                <a:gridCol w="740664">
                  <a:extLst>
                    <a:ext uri="{9D8B030D-6E8A-4147-A177-3AD203B41FA5}">
                      <a16:colId xmlns:a16="http://schemas.microsoft.com/office/drawing/2014/main" val="535574519"/>
                    </a:ext>
                  </a:extLst>
                </a:gridCol>
              </a:tblGrid>
              <a:tr h="227498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Fidelity Sans"/>
                        </a:rPr>
                        <a:t>Contain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Platform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emory per Container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(M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CPU per Container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(</a:t>
                      </a:r>
                      <a:r>
                        <a:rPr lang="en-US" sz="900" b="1" dirty="0" err="1">
                          <a:latin typeface="Fidelity Sans"/>
                        </a:rPr>
                        <a:t>millicores</a:t>
                      </a:r>
                      <a:r>
                        <a:rPr lang="en-US" sz="900" b="1" dirty="0">
                          <a:latin typeface="Fidelity San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DIT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ax Insta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SIT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ax Insta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UAT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ax Instances</a:t>
                      </a:r>
                    </a:p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Fidelity Sans"/>
                        </a:rPr>
                        <a:t>(per reg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Perf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ax Instances</a:t>
                      </a:r>
                    </a:p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Fidelity Sans"/>
                        </a:rPr>
                        <a:t>(per reg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Fidelity Sans"/>
                        </a:rPr>
                        <a:t>PROD Max instances per reg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DR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Max Instances</a:t>
                      </a:r>
                    </a:p>
                    <a:p>
                      <a:pPr algn="ctr"/>
                      <a:r>
                        <a:rPr lang="en-US" sz="900" b="1" dirty="0">
                          <a:latin typeface="Fidelity Sans"/>
                        </a:rPr>
                        <a:t>(per regio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Fidelity Sans"/>
                        </a:rPr>
                        <a:t>GU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NGIN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1 GB (4 pod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1 CP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Fidelity Sans"/>
                        </a:rPr>
                        <a:t>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>
                          <a:latin typeface="Fidelity Sans"/>
                        </a:rPr>
                        <a:t>SpringBo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 pitchFamily="34" charset="0"/>
                        </a:rPr>
                        <a:t>2 GB each 7 services * 4 pods e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4 CP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1 pod each for 7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idelity Sans"/>
                        </a:rPr>
                        <a:t>1 pod each for 7 services</a:t>
                      </a:r>
                    </a:p>
                    <a:p>
                      <a:pPr algn="ctr"/>
                      <a:endParaRPr lang="en-US" sz="900" dirty="0">
                        <a:latin typeface="Fidelity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17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idelity Sans"/>
                        </a:rPr>
                        <a:t>2 pod each for 7 services</a:t>
                      </a:r>
                    </a:p>
                    <a:p>
                      <a:pPr algn="ctr"/>
                      <a:endParaRPr lang="en-US" sz="900" dirty="0">
                        <a:latin typeface="Fidelity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4 pod each for 7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4 pod each for 7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Fidelity Sans"/>
                        </a:rPr>
                        <a:t>4 pod each for 7 serv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Dev 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RDS – db.r5.xl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8 G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4 CP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dirty="0">
                          <a:latin typeface="Fidelity Sans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655209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376445-E6FA-420E-A47F-8D900CA5DCD3}"/>
              </a:ext>
            </a:extLst>
          </p:cNvPr>
          <p:cNvSpPr txBox="1"/>
          <p:nvPr/>
        </p:nvSpPr>
        <p:spPr>
          <a:xfrm>
            <a:off x="135817" y="3035311"/>
            <a:ext cx="7406640" cy="2412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20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delity Sans" panose="020B0503030202020204" pitchFamily="34" charset="0"/>
                <a:ea typeface="+mn-ea"/>
                <a:cs typeface="+mn-cs"/>
              </a:rPr>
              <a:t>Capacity : Namespace (production): 64 GB RAM and 16 CPU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delity Sans" panose="020B050303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948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EA0C33-23DD-4242-A8D4-561C2CCA7B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1684">
              <a:defRPr/>
            </a:pPr>
            <a:fld id="{E6474CC2-1230-4213-AD1A-4B2FEEABA7A1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1684">
                <a:defRPr/>
              </a:pPr>
              <a:t>4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340AE6-A888-4C30-989C-BADDAD325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519" y="202920"/>
            <a:ext cx="10531930" cy="66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700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PCMS 2016 Template August">
  <a:themeElements>
    <a:clrScheme name="Fidelity Palette- FPCMS">
      <a:dk1>
        <a:srgbClr val="000000"/>
      </a:dk1>
      <a:lt1>
        <a:srgbClr val="FFFFFF"/>
      </a:lt1>
      <a:dk2>
        <a:srgbClr val="275E37"/>
      </a:dk2>
      <a:lt2>
        <a:srgbClr val="D8D8D8"/>
      </a:lt2>
      <a:accent1>
        <a:srgbClr val="E3EDF5"/>
      </a:accent1>
      <a:accent2>
        <a:srgbClr val="005A8B"/>
      </a:accent2>
      <a:accent3>
        <a:srgbClr val="0074A8"/>
      </a:accent3>
      <a:accent4>
        <a:srgbClr val="3F6F06"/>
      </a:accent4>
      <a:accent5>
        <a:srgbClr val="85AA0E"/>
      </a:accent5>
      <a:accent6>
        <a:srgbClr val="5D7975"/>
      </a:accent6>
      <a:hlink>
        <a:srgbClr val="005A8B"/>
      </a:hlink>
      <a:folHlink>
        <a:srgbClr val="FF9609"/>
      </a:folHlink>
    </a:clrScheme>
    <a:fontScheme name="FPCMS 2016 Template">
      <a:majorFont>
        <a:latin typeface="Century Gothic"/>
        <a:ea typeface=""/>
        <a:cs typeface=""/>
      </a:majorFont>
      <a:minorFont>
        <a:latin typeface="Fidelit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4_Basic">
  <a:themeElements>
    <a:clrScheme name="Custom 14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Fidelity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FPCMS 2016 Template August">
  <a:themeElements>
    <a:clrScheme name="Fidelity Palette- FPCMS">
      <a:dk1>
        <a:srgbClr val="000000"/>
      </a:dk1>
      <a:lt1>
        <a:srgbClr val="FFFFFF"/>
      </a:lt1>
      <a:dk2>
        <a:srgbClr val="275E37"/>
      </a:dk2>
      <a:lt2>
        <a:srgbClr val="D8D8D8"/>
      </a:lt2>
      <a:accent1>
        <a:srgbClr val="E3EDF5"/>
      </a:accent1>
      <a:accent2>
        <a:srgbClr val="005A8B"/>
      </a:accent2>
      <a:accent3>
        <a:srgbClr val="0074A8"/>
      </a:accent3>
      <a:accent4>
        <a:srgbClr val="3F6F06"/>
      </a:accent4>
      <a:accent5>
        <a:srgbClr val="85AA0E"/>
      </a:accent5>
      <a:accent6>
        <a:srgbClr val="5D7975"/>
      </a:accent6>
      <a:hlink>
        <a:srgbClr val="005A8B"/>
      </a:hlink>
      <a:folHlink>
        <a:srgbClr val="FF9609"/>
      </a:folHlink>
    </a:clrScheme>
    <a:fontScheme name="Custom 1">
      <a:majorFont>
        <a:latin typeface="Fidelity Sans"/>
        <a:ea typeface=""/>
        <a:cs typeface=""/>
      </a:majorFont>
      <a:minorFont>
        <a:latin typeface="Fidelit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FPCMS 2016 Template August">
  <a:themeElements>
    <a:clrScheme name="Fidelity Palette- FPCMS">
      <a:dk1>
        <a:srgbClr val="000000"/>
      </a:dk1>
      <a:lt1>
        <a:srgbClr val="FFFFFF"/>
      </a:lt1>
      <a:dk2>
        <a:srgbClr val="275E37"/>
      </a:dk2>
      <a:lt2>
        <a:srgbClr val="D8D8D8"/>
      </a:lt2>
      <a:accent1>
        <a:srgbClr val="E3EDF5"/>
      </a:accent1>
      <a:accent2>
        <a:srgbClr val="005A8B"/>
      </a:accent2>
      <a:accent3>
        <a:srgbClr val="0074A8"/>
      </a:accent3>
      <a:accent4>
        <a:srgbClr val="3F6F06"/>
      </a:accent4>
      <a:accent5>
        <a:srgbClr val="85AA0E"/>
      </a:accent5>
      <a:accent6>
        <a:srgbClr val="5D7975"/>
      </a:accent6>
      <a:hlink>
        <a:srgbClr val="005A8B"/>
      </a:hlink>
      <a:folHlink>
        <a:srgbClr val="FF9609"/>
      </a:folHlink>
    </a:clrScheme>
    <a:fontScheme name="FPCMS 2016 Template">
      <a:majorFont>
        <a:latin typeface="Century Gothic"/>
        <a:ea typeface=""/>
        <a:cs typeface=""/>
      </a:majorFont>
      <a:minorFont>
        <a:latin typeface="Fidelit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Basic">
  <a:themeElements>
    <a:clrScheme name="Custom 14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Fidelity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Basic">
  <a:themeElements>
    <a:clrScheme name="Custom 14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Fidelity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4_Office Theme">
  <a:themeElements>
    <a:clrScheme name="Fidelity_2017ColorPalette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Custom 1">
      <a:majorFont>
        <a:latin typeface="Fidelity Sans"/>
        <a:ea typeface=""/>
        <a:cs typeface=""/>
      </a:majorFont>
      <a:minorFont>
        <a:latin typeface="Fidelit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FPCMS 2016 Template August">
  <a:themeElements>
    <a:clrScheme name="Fidelity Palette- FPCMS">
      <a:dk1>
        <a:srgbClr val="000000"/>
      </a:dk1>
      <a:lt1>
        <a:srgbClr val="FFFFFF"/>
      </a:lt1>
      <a:dk2>
        <a:srgbClr val="275E37"/>
      </a:dk2>
      <a:lt2>
        <a:srgbClr val="D8D8D8"/>
      </a:lt2>
      <a:accent1>
        <a:srgbClr val="E3EDF5"/>
      </a:accent1>
      <a:accent2>
        <a:srgbClr val="005A8B"/>
      </a:accent2>
      <a:accent3>
        <a:srgbClr val="0074A8"/>
      </a:accent3>
      <a:accent4>
        <a:srgbClr val="3F6F06"/>
      </a:accent4>
      <a:accent5>
        <a:srgbClr val="85AA0E"/>
      </a:accent5>
      <a:accent6>
        <a:srgbClr val="5D7975"/>
      </a:accent6>
      <a:hlink>
        <a:srgbClr val="005A8B"/>
      </a:hlink>
      <a:folHlink>
        <a:srgbClr val="FF9609"/>
      </a:folHlink>
    </a:clrScheme>
    <a:fontScheme name="FPCMS 2016 Template">
      <a:majorFont>
        <a:latin typeface="Century Gothic"/>
        <a:ea typeface=""/>
        <a:cs typeface=""/>
      </a:majorFont>
      <a:minorFont>
        <a:latin typeface="Fidelit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2_Basic">
  <a:themeElements>
    <a:clrScheme name="Custom 14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Fidelity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Basic">
  <a:themeElements>
    <a:clrScheme name="Custom 14">
      <a:dk1>
        <a:srgbClr val="000000"/>
      </a:dk1>
      <a:lt1>
        <a:srgbClr val="FFFFFF"/>
      </a:lt1>
      <a:dk2>
        <a:srgbClr val="4D4D4D"/>
      </a:dk2>
      <a:lt2>
        <a:srgbClr val="D8D8D8"/>
      </a:lt2>
      <a:accent1>
        <a:srgbClr val="EF6D1D"/>
      </a:accent1>
      <a:accent2>
        <a:srgbClr val="2B73A7"/>
      </a:accent2>
      <a:accent3>
        <a:srgbClr val="235988"/>
      </a:accent3>
      <a:accent4>
        <a:srgbClr val="21662B"/>
      </a:accent4>
      <a:accent5>
        <a:srgbClr val="379533"/>
      </a:accent5>
      <a:accent6>
        <a:srgbClr val="29807F"/>
      </a:accent6>
      <a:hlink>
        <a:srgbClr val="005A8B"/>
      </a:hlink>
      <a:folHlink>
        <a:srgbClr val="FF9609"/>
      </a:folHlink>
    </a:clrScheme>
    <a:fontScheme name="Fidelity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400" dirty="0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Fidelity Document" ma:contentTypeID="0x010100EEDD55DFBA98E446AD88AA4AB0540E900056EA12B6D5EF37439999591A282449C6" ma:contentTypeVersion="183" ma:contentTypeDescription="Add Fidelity Document" ma:contentTypeScope="" ma:versionID="c25a6b1482cf3b38f75aa28c6c5cb28e">
  <xsd:schema xmlns:xsd="http://www.w3.org/2001/XMLSchema" xmlns:xs="http://www.w3.org/2001/XMLSchema" xmlns:p="http://schemas.microsoft.com/office/2006/metadata/properties" xmlns:ns1="http://schemas.microsoft.com/sharepoint/v3" xmlns:ns2="bf7f3a03-9a48-4028-a351-0888e2ea737c" xmlns:ns3="01cb52d7-468d-4f71-9158-1272f2cdb332" xmlns:ns4="b5e2e1dd-38e4-494e-bb59-01d4090b0bde" xmlns:ns5="http://schemas.microsoft.com/sharepoint/v3/fields" targetNamespace="http://schemas.microsoft.com/office/2006/metadata/properties" ma:root="true" ma:fieldsID="18809b58e087ab483548606ec8bb0136" ns1:_="" ns2:_="" ns3:_="" ns4:_="" ns5:_="">
    <xsd:import namespace="http://schemas.microsoft.com/sharepoint/v3"/>
    <xsd:import namespace="bf7f3a03-9a48-4028-a351-0888e2ea737c"/>
    <xsd:import namespace="01cb52d7-468d-4f71-9158-1272f2cdb332"/>
    <xsd:import namespace="b5e2e1dd-38e4-494e-bb59-01d4090b0bde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P2I"/>
                <xsd:element ref="ns2:TaxKeywordTaxHTField" minOccurs="0"/>
                <xsd:element ref="ns2:DeclarationDate" minOccurs="0"/>
                <xsd:element ref="ns2:RetentionDate" minOccurs="0"/>
                <xsd:element ref="ns2:DispositionDate" minOccurs="0"/>
                <xsd:element ref="ns2:fdcRecordCategory" minOccurs="0"/>
                <xsd:element ref="ns2:TaxCatchAll" minOccurs="0"/>
                <xsd:element ref="ns2:TaxCatchAllLabel" minOccurs="0"/>
                <xsd:element ref="ns2:b9118dac365640c19feac39d4865f292" minOccurs="0"/>
                <xsd:element ref="ns1:_dlc_ExpireDateSaved" minOccurs="0"/>
                <xsd:element ref="ns1:_dlc_Exempt" minOccurs="0"/>
                <xsd:element ref="ns1:_dlc_ExpireDate" minOccurs="0"/>
                <xsd:element ref="ns2:EventDate" minOccurs="0"/>
                <xsd:element ref="ns4:_spia_rule" minOccurs="0"/>
                <xsd:element ref="ns4:_spia_type" minOccurs="0"/>
                <xsd:element ref="ns4:_spia_result" minOccurs="0"/>
                <xsd:element ref="ns5:Location" minOccurs="0"/>
                <xsd:element ref="ns2:SharedWithUsers" minOccurs="0"/>
                <xsd:element ref="ns2:SharedWithDetail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pireDateSaved" ma:index="22" nillable="true" ma:displayName="Original Expiration Date" ma:hidden="true" ma:internalName="_dlc_ExpireDateSaved" ma:readOnly="true">
      <xsd:simpleType>
        <xsd:restriction base="dms:DateTime"/>
      </xsd:simpleType>
    </xsd:element>
    <xsd:element name="_dlc_Exempt" ma:index="23" nillable="true" ma:displayName="Exempt from Policy" ma:hidden="true" ma:internalName="_dlc_Exempt" ma:readOnly="true">
      <xsd:simpleType>
        <xsd:restriction base="dms:Unknown"/>
      </xsd:simpleType>
    </xsd:element>
    <xsd:element name="_dlc_ExpireDate" ma:index="24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7f3a03-9a48-4028-a351-0888e2ea737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KeywordTaxHTField" ma:index="12" nillable="true" ma:taxonomy="true" ma:internalName="TaxKeywordTaxHTField" ma:taxonomyFieldName="TaxKeyword" ma:displayName="Enterprise Keywords" ma:readOnly="false" ma:fieldId="{23f27201-bee3-471e-b2e7-b64fd8b7ca38}" ma:taxonomyMulti="true" ma:sspId="da5aa731-3981-4550-91eb-7c827002858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eclarationDate" ma:index="15" nillable="true" ma:displayName="Declaration Date" ma:format="DateOnly" ma:hidden="true" ma:internalName="DeclarationDate" ma:readOnly="false">
      <xsd:simpleType>
        <xsd:restriction base="dms:DateTime"/>
      </xsd:simpleType>
    </xsd:element>
    <xsd:element name="RetentionDate" ma:index="16" nillable="true" ma:displayName="Retention Date" ma:format="DateOnly" ma:hidden="true" ma:internalName="RetentionDate" ma:readOnly="false">
      <xsd:simpleType>
        <xsd:restriction base="dms:DateTime"/>
      </xsd:simpleType>
    </xsd:element>
    <xsd:element name="DispositionDate" ma:index="17" nillable="true" ma:displayName="Disposition Date" ma:format="DateOnly" ma:hidden="true" ma:internalName="DispositionDate" ma:readOnly="false">
      <xsd:simpleType>
        <xsd:restriction base="dms:DateTime"/>
      </xsd:simpleType>
    </xsd:element>
    <xsd:element name="fdcRecordCategory" ma:index="18" nillable="true" ma:displayName="Record Category" ma:internalName="fdcRecordCategory">
      <xsd:simpleType>
        <xsd:restriction base="dms:Text"/>
      </xsd:simpleType>
    </xsd:element>
    <xsd:element name="TaxCatchAll" ma:index="19" nillable="true" ma:displayName="Taxonomy Catch All Column" ma:description="" ma:hidden="true" ma:list="{f193852f-382b-40e0-85f3-47a103d9a786}" ma:internalName="TaxCatchAll" ma:showField="CatchAllData" ma:web="bf7f3a03-9a48-4028-a351-0888e2ea73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0" nillable="true" ma:displayName="Taxonomy Catch All Column1" ma:hidden="true" ma:list="{f193852f-382b-40e0-85f3-47a103d9a786}" ma:internalName="TaxCatchAllLabel" ma:readOnly="true" ma:showField="CatchAllDataLabel" ma:web="bf7f3a03-9a48-4028-a351-0888e2ea73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9118dac365640c19feac39d4865f292" ma:index="21" nillable="true" ma:taxonomy="true" ma:internalName="b9118dac365640c19feac39d4865f292" ma:taxonomyFieldName="DocumentCategory" ma:displayName="Document Category" ma:fieldId="{b9118dac-3656-40c1-9fea-c39d4865f292}" ma:sspId="da5aa731-3981-4550-91eb-7c8270028580" ma:termSetId="679af043-d0c6-4ac2-9408-bd7284139a8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ventDate" ma:index="25" nillable="true" ma:displayName="Event Date" ma:format="DateOnly" ma:hidden="true" ma:internalName="EventDate">
      <xsd:simpleType>
        <xsd:restriction base="dms:DateTime"/>
      </xsd:simpleType>
    </xsd:element>
    <xsd:element name="SharedWithUsers" ma:index="3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cb52d7-468d-4f71-9158-1272f2cdb332" elementFormDefault="qualified">
    <xsd:import namespace="http://schemas.microsoft.com/office/2006/documentManagement/types"/>
    <xsd:import namespace="http://schemas.microsoft.com/office/infopath/2007/PartnerControls"/>
    <xsd:element name="SP2I" ma:index="11" ma:displayName="SP2I" ma:default="" ma:format="Dropdown" ma:internalName="SP2I">
      <xsd:simpleType>
        <xsd:restriction base="dms:Choice">
          <xsd:enumeration value="Highly Confidential"/>
          <xsd:enumeration value="Confidential"/>
          <xsd:enumeration value="Internal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e2e1dd-38e4-494e-bb59-01d4090b0bde" elementFormDefault="qualified">
    <xsd:import namespace="http://schemas.microsoft.com/office/2006/documentManagement/types"/>
    <xsd:import namespace="http://schemas.microsoft.com/office/infopath/2007/PartnerControls"/>
    <xsd:element name="_spia_rule" ma:index="26" nillable="true" ma:displayName="_spia_rule" ma:hidden="true" ma:internalName="_spia_rule">
      <xsd:simpleType>
        <xsd:restriction base="dms:Text"/>
      </xsd:simpleType>
    </xsd:element>
    <xsd:element name="_spia_type" ma:index="27" nillable="true" ma:displayName="_spia_type" ma:hidden="true" ma:internalName="_spia_type">
      <xsd:simpleType>
        <xsd:restriction base="dms:Text"/>
      </xsd:simpleType>
    </xsd:element>
    <xsd:element name="_spia_result" ma:index="28" nillable="true" ma:displayName="_spia_result" ma:hidden="true" ma:internalName="_spia_result">
      <xsd:simpleType>
        <xsd:restriction base="dms:Text"/>
      </xsd:simpleType>
    </xsd:element>
    <xsd:element name="MediaServiceAutoKeyPoints" ma:index="3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Location" ma:index="29" nillable="true" ma:displayName="Location" ma:hidden="true" ma:internalName="Locat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dcRecordCategory xmlns="bf7f3a03-9a48-4028-a351-0888e2ea737c" xsi:nil="true"/>
    <_spia_result xmlns="b5e2e1dd-38e4-494e-bb59-01d4090b0bde" xsi:nil="true"/>
    <SP2I xmlns="01cb52d7-468d-4f71-9158-1272f2cdb332"/>
    <RetentionDate xmlns="bf7f3a03-9a48-4028-a351-0888e2ea737c" xsi:nil="true"/>
    <_spia_type xmlns="b5e2e1dd-38e4-494e-bb59-01d4090b0bde" xsi:nil="true"/>
    <TaxKeywordTaxHTField xmlns="bf7f3a03-9a48-4028-a351-0888e2ea737c">
      <Terms xmlns="http://schemas.microsoft.com/office/infopath/2007/PartnerControls"/>
    </TaxKeywordTaxHTField>
    <DispositionDate xmlns="bf7f3a03-9a48-4028-a351-0888e2ea737c" xsi:nil="true"/>
    <EventDate xmlns="bf7f3a03-9a48-4028-a351-0888e2ea737c" xsi:nil="true"/>
    <TaxCatchAll xmlns="bf7f3a03-9a48-4028-a351-0888e2ea737c"/>
    <DeclarationDate xmlns="bf7f3a03-9a48-4028-a351-0888e2ea737c" xsi:nil="true"/>
    <b9118dac365640c19feac39d4865f292 xmlns="bf7f3a03-9a48-4028-a351-0888e2ea737c">
      <Terms xmlns="http://schemas.microsoft.com/office/infopath/2007/PartnerControls"/>
    </b9118dac365640c19feac39d4865f292>
    <_dlc_ExpireDate xmlns="http://schemas.microsoft.com/sharepoint/v3" xsi:nil="true"/>
    <Location xmlns="http://schemas.microsoft.com/sharepoint/v3/fields" xsi:nil="true"/>
    <_spia_rule xmlns="b5e2e1dd-38e4-494e-bb59-01d4090b0bde" xsi:nil="true"/>
  </documentManagement>
</p:properties>
</file>

<file path=customXml/itemProps1.xml><?xml version="1.0" encoding="utf-8"?>
<ds:datastoreItem xmlns:ds="http://schemas.openxmlformats.org/officeDocument/2006/customXml" ds:itemID="{5069FC0D-DCAC-4475-B946-B18D4BEFFCA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59B5201-5608-41D2-A0AD-7A1EAAD152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f7f3a03-9a48-4028-a351-0888e2ea737c"/>
    <ds:schemaRef ds:uri="01cb52d7-468d-4f71-9158-1272f2cdb332"/>
    <ds:schemaRef ds:uri="b5e2e1dd-38e4-494e-bb59-01d4090b0bde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AA4AF9-0768-4F47-84B4-32BB772EE46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BB28254-CCA7-47DF-ACCF-C696A1F496D2}">
  <ds:schemaRefs>
    <ds:schemaRef ds:uri="http://schemas.microsoft.com/office/2006/metadata/properties"/>
    <ds:schemaRef ds:uri="http://schemas.microsoft.com/office/2006/documentManagement/types"/>
    <ds:schemaRef ds:uri="01cb52d7-468d-4f71-9158-1272f2cdb332"/>
    <ds:schemaRef ds:uri="http://schemas.microsoft.com/sharepoint/v3"/>
    <ds:schemaRef ds:uri="bf7f3a03-9a48-4028-a351-0888e2ea737c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5e2e1dd-38e4-494e-bb59-01d4090b0bde"/>
    <ds:schemaRef ds:uri="http://purl.org/dc/terms/"/>
    <ds:schemaRef ds:uri="http://schemas.microsoft.com/sharepoint/v3/field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452</TotalTime>
  <Words>345</Words>
  <Application>Microsoft Office PowerPoint</Application>
  <PresentationFormat>Custom</PresentationFormat>
  <Paragraphs>11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1" baseType="lpstr">
      <vt:lpstr>Arial</vt:lpstr>
      <vt:lpstr>Arial Black</vt:lpstr>
      <vt:lpstr>Calibri</vt:lpstr>
      <vt:lpstr>Century Gothic</vt:lpstr>
      <vt:lpstr>Fidelity Sans</vt:lpstr>
      <vt:lpstr>Fidelity Sans Lt</vt:lpstr>
      <vt:lpstr>FPCMS 2016 Template August</vt:lpstr>
      <vt:lpstr>1_FPCMS 2016 Template August</vt:lpstr>
      <vt:lpstr>2_FPCMS 2016 Template August</vt:lpstr>
      <vt:lpstr>Basic</vt:lpstr>
      <vt:lpstr>1_Basic</vt:lpstr>
      <vt:lpstr>4_Office Theme</vt:lpstr>
      <vt:lpstr>4_FPCMS 2016 Template August</vt:lpstr>
      <vt:lpstr>2_Basic</vt:lpstr>
      <vt:lpstr>3_Basic</vt:lpstr>
      <vt:lpstr>4_Basic</vt:lpstr>
      <vt:lpstr>think-cell Slide</vt:lpstr>
      <vt:lpstr>Solution Intent Review: APEX-Transactions Application (NAV product) General Information</vt:lpstr>
      <vt:lpstr>Solution Intent Review: APEX Transactions Architecture Diagram</vt:lpstr>
      <vt:lpstr>Environment &amp; Capacity Requirements</vt:lpstr>
      <vt:lpstr>PowerPoint Presentation</vt:lpstr>
    </vt:vector>
  </TitlesOfParts>
  <Company>[Default]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 Stephen</dc:creator>
  <cp:lastModifiedBy>Barnes, Lincoln</cp:lastModifiedBy>
  <cp:revision>406</cp:revision>
  <cp:lastPrinted>2017-08-31T19:18:14Z</cp:lastPrinted>
  <dcterms:created xsi:type="dcterms:W3CDTF">2017-08-18T17:02:26Z</dcterms:created>
  <dcterms:modified xsi:type="dcterms:W3CDTF">2021-10-13T14:5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EDD55DFBA98E446AD88AA4AB0540E900056EA12B6D5EF37439999591A282449C6</vt:lpwstr>
  </property>
  <property fmtid="{D5CDD505-2E9C-101B-9397-08002B2CF9AE}" pid="4" name="TaxKeyword">
    <vt:lpwstr/>
  </property>
</Properties>
</file>